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media/image13.jpg" ContentType="image/jpg"/>
  <Override PartName="/ppt/tags/tag2.xml" ContentType="application/vnd.openxmlformats-officedocument.presentationml.tags+xml"/>
  <Override PartName="/ppt/media/image22.jpg" ContentType="image/jpg"/>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7.jpg" ContentType="image/jpg"/>
  <Override PartName="/ppt/tags/tag6.xml" ContentType="application/vnd.openxmlformats-officedocument.presentationml.tags+xml"/>
  <Override PartName="/ppt/media/image29.jpg" ContentType="image/jpg"/>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0"/>
  </p:notesMasterIdLst>
  <p:handoutMasterIdLst>
    <p:handoutMasterId r:id="rId41"/>
  </p:handoutMasterIdLst>
  <p:sldIdLst>
    <p:sldId id="141169004" r:id="rId6"/>
    <p:sldId id="141169013" r:id="rId7"/>
    <p:sldId id="141169018" r:id="rId8"/>
    <p:sldId id="141169016" r:id="rId9"/>
    <p:sldId id="141169015" r:id="rId10"/>
    <p:sldId id="141169014" r:id="rId11"/>
    <p:sldId id="141169057" r:id="rId12"/>
    <p:sldId id="141169061" r:id="rId13"/>
    <p:sldId id="141169012" r:id="rId14"/>
    <p:sldId id="141169011" r:id="rId15"/>
    <p:sldId id="141169034" r:id="rId16"/>
    <p:sldId id="141169063" r:id="rId17"/>
    <p:sldId id="141169064" r:id="rId18"/>
    <p:sldId id="141169065" r:id="rId19"/>
    <p:sldId id="141169066" r:id="rId20"/>
    <p:sldId id="141169067" r:id="rId21"/>
    <p:sldId id="141169068" r:id="rId22"/>
    <p:sldId id="141169026" r:id="rId23"/>
    <p:sldId id="141169025" r:id="rId24"/>
    <p:sldId id="141169071" r:id="rId25"/>
    <p:sldId id="141169073" r:id="rId26"/>
    <p:sldId id="141169074" r:id="rId27"/>
    <p:sldId id="141169075" r:id="rId28"/>
    <p:sldId id="141169023" r:id="rId29"/>
    <p:sldId id="141169022" r:id="rId30"/>
    <p:sldId id="141169076" r:id="rId31"/>
    <p:sldId id="141169077" r:id="rId32"/>
    <p:sldId id="141169078" r:id="rId33"/>
    <p:sldId id="141169079" r:id="rId34"/>
    <p:sldId id="141169080" r:id="rId35"/>
    <p:sldId id="141169009" r:id="rId36"/>
    <p:sldId id="141169008" r:id="rId37"/>
    <p:sldId id="141169005" r:id="rId38"/>
    <p:sldId id="141169007" r:id="rId3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7"/>
            <p14:sldId id="141169061"/>
            <p14:sldId id="141169012"/>
            <p14:sldId id="141169011"/>
            <p14:sldId id="141169034"/>
            <p14:sldId id="141169063"/>
            <p14:sldId id="141169064"/>
            <p14:sldId id="141169065"/>
            <p14:sldId id="141169066"/>
            <p14:sldId id="141169067"/>
            <p14:sldId id="141169068"/>
            <p14:sldId id="141169026"/>
            <p14:sldId id="141169025"/>
            <p14:sldId id="141169071"/>
            <p14:sldId id="141169073"/>
            <p14:sldId id="141169074"/>
            <p14:sldId id="141169075"/>
            <p14:sldId id="141169023"/>
            <p14:sldId id="141169022"/>
            <p14:sldId id="141169076"/>
            <p14:sldId id="141169077"/>
            <p14:sldId id="141169078"/>
            <p14:sldId id="141169079"/>
            <p14:sldId id="141169080"/>
            <p14:sldId id="141169009"/>
            <p14:sldId id="141169008"/>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FC01CC-D70E-474B-A8FF-4762E37F6F30}" v="289" dt="2026-02-05T15:10:38.681"/>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0" autoAdjust="0"/>
    <p:restoredTop sz="97020" autoAdjust="0"/>
  </p:normalViewPr>
  <p:slideViewPr>
    <p:cSldViewPr snapToGrid="0" snapToObjects="1" showGuides="1">
      <p:cViewPr varScale="1">
        <p:scale>
          <a:sx n="119" d="100"/>
          <a:sy n="119" d="100"/>
        </p:scale>
        <p:origin x="648" y="330"/>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05T15:11:20.434" v="1673" actId="20577"/>
      <pc:docMkLst>
        <pc:docMk/>
      </pc:docMkLst>
      <pc:sldChg chg="addSp modSp mod">
        <pc:chgData name="Mascha Theiler" userId="a0f496a5-efc4-4b52-959d-5e95987cae8c" providerId="ADAL" clId="{46BE184E-840E-48D3-B624-C448522A216F}" dt="2026-02-05T12:34:20.643" v="4"/>
        <pc:sldMkLst>
          <pc:docMk/>
          <pc:sldMk cId="212893902" sldId="141169004"/>
        </pc:sldMkLst>
        <pc:spChg chg="mod">
          <ac:chgData name="Mascha Theiler" userId="a0f496a5-efc4-4b52-959d-5e95987cae8c" providerId="ADAL" clId="{46BE184E-840E-48D3-B624-C448522A216F}" dt="2026-02-05T12:34:12.029" v="3" actId="113"/>
          <ac:spMkLst>
            <pc:docMk/>
            <pc:sldMk cId="212893902" sldId="141169004"/>
            <ac:spMk id="3" creationId="{DBBC741F-F36E-AFA0-3CD1-CD890CC4089C}"/>
          </ac:spMkLst>
        </pc:spChg>
        <pc:spChg chg="mod">
          <ac:chgData name="Mascha Theiler" userId="a0f496a5-efc4-4b52-959d-5e95987cae8c" providerId="ADAL" clId="{46BE184E-840E-48D3-B624-C448522A216F}" dt="2026-02-05T12:34:20.643" v="4"/>
          <ac:spMkLst>
            <pc:docMk/>
            <pc:sldMk cId="212893902" sldId="141169004"/>
            <ac:spMk id="5" creationId="{CC410DC2-7478-767E-6704-A9ADE8F66B15}"/>
          </ac:spMkLst>
        </pc:spChg>
        <pc:picChg chg="add mod">
          <ac:chgData name="Mascha Theiler" userId="a0f496a5-efc4-4b52-959d-5e95987cae8c" providerId="ADAL" clId="{46BE184E-840E-48D3-B624-C448522A216F}" dt="2026-02-05T12:33:51.973" v="0"/>
          <ac:picMkLst>
            <pc:docMk/>
            <pc:sldMk cId="212893902" sldId="141169004"/>
            <ac:picMk id="2" creationId="{EC089521-3FB1-B46A-94CB-CCED4F71384F}"/>
          </ac:picMkLst>
        </pc:picChg>
        <pc:picChg chg="add mod">
          <ac:chgData name="Mascha Theiler" userId="a0f496a5-efc4-4b52-959d-5e95987cae8c" providerId="ADAL" clId="{46BE184E-840E-48D3-B624-C448522A216F}" dt="2026-02-05T12:33:56.191" v="1"/>
          <ac:picMkLst>
            <pc:docMk/>
            <pc:sldMk cId="212893902" sldId="141169004"/>
            <ac:picMk id="4" creationId="{92BBA167-8DFE-9BA0-DAF7-A4902466CDE8}"/>
          </ac:picMkLst>
        </pc:picChg>
      </pc:sldChg>
      <pc:sldChg chg="modSp mod">
        <pc:chgData name="Mascha Theiler" userId="a0f496a5-efc4-4b52-959d-5e95987cae8c" providerId="ADAL" clId="{46BE184E-840E-48D3-B624-C448522A216F}" dt="2026-02-05T14:58:45.382" v="1539" actId="20577"/>
        <pc:sldMkLst>
          <pc:docMk/>
          <pc:sldMk cId="806316510" sldId="141169005"/>
        </pc:sldMkLst>
        <pc:spChg chg="mod">
          <ac:chgData name="Mascha Theiler" userId="a0f496a5-efc4-4b52-959d-5e95987cae8c" providerId="ADAL" clId="{46BE184E-840E-48D3-B624-C448522A216F}" dt="2026-02-05T14:57:29.372" v="1532"/>
          <ac:spMkLst>
            <pc:docMk/>
            <pc:sldMk cId="806316510" sldId="141169005"/>
            <ac:spMk id="2" creationId="{C7CFFD2A-3290-0E0C-33BD-371696BE2862}"/>
          </ac:spMkLst>
        </pc:spChg>
        <pc:spChg chg="mod">
          <ac:chgData name="Mascha Theiler" userId="a0f496a5-efc4-4b52-959d-5e95987cae8c" providerId="ADAL" clId="{46BE184E-840E-48D3-B624-C448522A216F}" dt="2026-02-05T14:58:45.382" v="1539" actId="20577"/>
          <ac:spMkLst>
            <pc:docMk/>
            <pc:sldMk cId="806316510" sldId="141169005"/>
            <ac:spMk id="3" creationId="{6B84C24E-A26E-1008-29AE-2AC4F565872B}"/>
          </ac:spMkLst>
        </pc:spChg>
        <pc:spChg chg="mod">
          <ac:chgData name="Mascha Theiler" userId="a0f496a5-efc4-4b52-959d-5e95987cae8c" providerId="ADAL" clId="{46BE184E-840E-48D3-B624-C448522A216F}" dt="2026-02-05T14:56:05.976" v="1510"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5T14:56:42.895" v="1531"/>
        <pc:sldMkLst>
          <pc:docMk/>
          <pc:sldMk cId="1631104640" sldId="141169007"/>
        </pc:sldMkLst>
        <pc:spChg chg="mod">
          <ac:chgData name="Mascha Theiler" userId="a0f496a5-efc4-4b52-959d-5e95987cae8c" providerId="ADAL" clId="{46BE184E-840E-48D3-B624-C448522A216F}" dt="2026-02-05T14:56:37.285" v="1530"/>
          <ac:spMkLst>
            <pc:docMk/>
            <pc:sldMk cId="1631104640" sldId="141169007"/>
            <ac:spMk id="2" creationId="{5DF1DF01-7253-5EBE-A127-EEA0E1CB73FC}"/>
          </ac:spMkLst>
        </pc:spChg>
        <pc:spChg chg="mod">
          <ac:chgData name="Mascha Theiler" userId="a0f496a5-efc4-4b52-959d-5e95987cae8c" providerId="ADAL" clId="{46BE184E-840E-48D3-B624-C448522A216F}" dt="2026-02-05T14:56:42.895" v="1531"/>
          <ac:spMkLst>
            <pc:docMk/>
            <pc:sldMk cId="1631104640" sldId="141169007"/>
            <ac:spMk id="3" creationId="{E47E1585-A18C-D362-EBDE-7964974C99B3}"/>
          </ac:spMkLst>
        </pc:spChg>
        <pc:spChg chg="mod">
          <ac:chgData name="Mascha Theiler" userId="a0f496a5-efc4-4b52-959d-5e95987cae8c" providerId="ADAL" clId="{46BE184E-840E-48D3-B624-C448522A216F}" dt="2026-02-05T14:56:11.368" v="1529"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05T14:55:39.976" v="1489" actId="20577"/>
        <pc:sldMkLst>
          <pc:docMk/>
          <pc:sldMk cId="3272722806" sldId="141169008"/>
        </pc:sldMkLst>
        <pc:spChg chg="mod">
          <ac:chgData name="Mascha Theiler" userId="a0f496a5-efc4-4b52-959d-5e95987cae8c" providerId="ADAL" clId="{46BE184E-840E-48D3-B624-C448522A216F}" dt="2026-02-05T14:55:35.077" v="1470"/>
          <ac:spMkLst>
            <pc:docMk/>
            <pc:sldMk cId="3272722806" sldId="141169008"/>
            <ac:spMk id="2" creationId="{ECFCEDCD-DE5B-D060-6C03-CC7A1E1A7A29}"/>
          </ac:spMkLst>
        </pc:spChg>
        <pc:spChg chg="mod">
          <ac:chgData name="Mascha Theiler" userId="a0f496a5-efc4-4b52-959d-5e95987cae8c" providerId="ADAL" clId="{46BE184E-840E-48D3-B624-C448522A216F}" dt="2026-02-05T14:55:39.976" v="1489" actId="20577"/>
          <ac:spMkLst>
            <pc:docMk/>
            <pc:sldMk cId="3272722806" sldId="141169008"/>
            <ac:spMk id="5" creationId="{0B058973-BE94-6C33-CAC8-171B308BF357}"/>
          </ac:spMkLst>
        </pc:spChg>
      </pc:sldChg>
      <pc:sldChg chg="modSp mod">
        <pc:chgData name="Mascha Theiler" userId="a0f496a5-efc4-4b52-959d-5e95987cae8c" providerId="ADAL" clId="{46BE184E-840E-48D3-B624-C448522A216F}" dt="2026-02-05T14:55:25.673" v="1469" actId="20577"/>
        <pc:sldMkLst>
          <pc:docMk/>
          <pc:sldMk cId="3989882371" sldId="141169009"/>
        </pc:sldMkLst>
        <pc:spChg chg="mod">
          <ac:chgData name="Mascha Theiler" userId="a0f496a5-efc4-4b52-959d-5e95987cae8c" providerId="ADAL" clId="{46BE184E-840E-48D3-B624-C448522A216F}" dt="2026-02-05T14:54:52.759" v="1446"/>
          <ac:spMkLst>
            <pc:docMk/>
            <pc:sldMk cId="3989882371" sldId="141169009"/>
            <ac:spMk id="2" creationId="{97374FCA-C95A-8B35-75FE-CA1FD25336B6}"/>
          </ac:spMkLst>
        </pc:spChg>
        <pc:spChg chg="mod">
          <ac:chgData name="Mascha Theiler" userId="a0f496a5-efc4-4b52-959d-5e95987cae8c" providerId="ADAL" clId="{46BE184E-840E-48D3-B624-C448522A216F}" dt="2026-02-05T14:55:25.673" v="1469" actId="20577"/>
          <ac:spMkLst>
            <pc:docMk/>
            <pc:sldMk cId="3989882371" sldId="141169009"/>
            <ac:spMk id="3" creationId="{03920B92-2D1F-BF6D-82B0-B2635C50A8F6}"/>
          </ac:spMkLst>
        </pc:spChg>
        <pc:spChg chg="mod">
          <ac:chgData name="Mascha Theiler" userId="a0f496a5-efc4-4b52-959d-5e95987cae8c" providerId="ADAL" clId="{46BE184E-840E-48D3-B624-C448522A216F}" dt="2026-02-05T14:55:08.206" v="1465" actId="20577"/>
          <ac:spMkLst>
            <pc:docMk/>
            <pc:sldMk cId="3989882371" sldId="141169009"/>
            <ac:spMk id="5" creationId="{C0382885-ED17-380D-05A5-D5E665C8636A}"/>
          </ac:spMkLst>
        </pc:spChg>
      </pc:sldChg>
      <pc:sldChg chg="modSp mod">
        <pc:chgData name="Mascha Theiler" userId="a0f496a5-efc4-4b52-959d-5e95987cae8c" providerId="ADAL" clId="{46BE184E-840E-48D3-B624-C448522A216F}" dt="2026-02-05T13:21:35.184" v="683" actId="20577"/>
        <pc:sldMkLst>
          <pc:docMk/>
          <pc:sldMk cId="1744592103" sldId="141169011"/>
        </pc:sldMkLst>
        <pc:spChg chg="mod">
          <ac:chgData name="Mascha Theiler" userId="a0f496a5-efc4-4b52-959d-5e95987cae8c" providerId="ADAL" clId="{46BE184E-840E-48D3-B624-C448522A216F}" dt="2026-02-05T13:20:03.261" v="652" actId="113"/>
          <ac:spMkLst>
            <pc:docMk/>
            <pc:sldMk cId="1744592103" sldId="141169011"/>
            <ac:spMk id="2" creationId="{BF3D0F9A-EF92-E67A-7DE9-06859EB206C7}"/>
          </ac:spMkLst>
        </pc:spChg>
        <pc:spChg chg="mod">
          <ac:chgData name="Mascha Theiler" userId="a0f496a5-efc4-4b52-959d-5e95987cae8c" providerId="ADAL" clId="{46BE184E-840E-48D3-B624-C448522A216F}" dt="2026-02-05T13:21:35.184" v="683" actId="20577"/>
          <ac:spMkLst>
            <pc:docMk/>
            <pc:sldMk cId="1744592103" sldId="141169011"/>
            <ac:spMk id="3" creationId="{FBEC2812-1438-09C8-B7AC-452C8E3708F5}"/>
          </ac:spMkLst>
        </pc:spChg>
        <pc:spChg chg="mod">
          <ac:chgData name="Mascha Theiler" userId="a0f496a5-efc4-4b52-959d-5e95987cae8c" providerId="ADAL" clId="{46BE184E-840E-48D3-B624-C448522A216F}" dt="2026-02-05T12:47:18.354" v="422" actId="20577"/>
          <ac:spMkLst>
            <pc:docMk/>
            <pc:sldMk cId="1744592103" sldId="141169011"/>
            <ac:spMk id="5" creationId="{3E04C794-D213-7E6E-3E65-83C8D4C8722C}"/>
          </ac:spMkLst>
        </pc:spChg>
      </pc:sldChg>
      <pc:sldChg chg="modSp mod">
        <pc:chgData name="Mascha Theiler" userId="a0f496a5-efc4-4b52-959d-5e95987cae8c" providerId="ADAL" clId="{46BE184E-840E-48D3-B624-C448522A216F}" dt="2026-02-05T13:14:48.212" v="627" actId="11"/>
        <pc:sldMkLst>
          <pc:docMk/>
          <pc:sldMk cId="741183918" sldId="141169012"/>
        </pc:sldMkLst>
        <pc:spChg chg="mod">
          <ac:chgData name="Mascha Theiler" userId="a0f496a5-efc4-4b52-959d-5e95987cae8c" providerId="ADAL" clId="{46BE184E-840E-48D3-B624-C448522A216F}" dt="2026-02-05T13:13:45.551" v="604"/>
          <ac:spMkLst>
            <pc:docMk/>
            <pc:sldMk cId="741183918" sldId="141169012"/>
            <ac:spMk id="2" creationId="{44DDADF5-A384-E805-D55F-2EAF627D0934}"/>
          </ac:spMkLst>
        </pc:spChg>
        <pc:spChg chg="mod">
          <ac:chgData name="Mascha Theiler" userId="a0f496a5-efc4-4b52-959d-5e95987cae8c" providerId="ADAL" clId="{46BE184E-840E-48D3-B624-C448522A216F}" dt="2026-02-05T13:14:48.212" v="627" actId="11"/>
          <ac:spMkLst>
            <pc:docMk/>
            <pc:sldMk cId="741183918" sldId="141169012"/>
            <ac:spMk id="3" creationId="{6C6A02F9-5689-F798-E8F4-24F2AFE22EAC}"/>
          </ac:spMkLst>
        </pc:spChg>
        <pc:spChg chg="mod">
          <ac:chgData name="Mascha Theiler" userId="a0f496a5-efc4-4b52-959d-5e95987cae8c" providerId="ADAL" clId="{46BE184E-840E-48D3-B624-C448522A216F}" dt="2026-02-05T12:47:11.394" v="403"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5T12:36:10.081" v="43" actId="20577"/>
        <pc:sldMkLst>
          <pc:docMk/>
          <pc:sldMk cId="3171159530" sldId="141169013"/>
        </pc:sldMkLst>
        <pc:spChg chg="mod">
          <ac:chgData name="Mascha Theiler" userId="a0f496a5-efc4-4b52-959d-5e95987cae8c" providerId="ADAL" clId="{46BE184E-840E-48D3-B624-C448522A216F}" dt="2026-02-05T12:34:42.800" v="17"/>
          <ac:spMkLst>
            <pc:docMk/>
            <pc:sldMk cId="3171159530" sldId="141169013"/>
            <ac:spMk id="2" creationId="{C3945439-1C16-BCB2-4C79-260618DAD0B2}"/>
          </ac:spMkLst>
        </pc:spChg>
        <pc:spChg chg="mod">
          <ac:chgData name="Mascha Theiler" userId="a0f496a5-efc4-4b52-959d-5e95987cae8c" providerId="ADAL" clId="{46BE184E-840E-48D3-B624-C448522A216F}" dt="2026-02-05T12:36:10.081" v="43" actId="20577"/>
          <ac:spMkLst>
            <pc:docMk/>
            <pc:sldMk cId="3171159530" sldId="141169013"/>
            <ac:spMk id="3" creationId="{C21A7579-B93C-DD18-A750-BECCE46D9BF0}"/>
          </ac:spMkLst>
        </pc:spChg>
        <pc:spChg chg="mod">
          <ac:chgData name="Mascha Theiler" userId="a0f496a5-efc4-4b52-959d-5e95987cae8c" providerId="ADAL" clId="{46BE184E-840E-48D3-B624-C448522A216F}" dt="2026-02-05T12:34:51.411" v="37"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05T12:56:11.881" v="530" actId="404"/>
        <pc:sldMkLst>
          <pc:docMk/>
          <pc:sldMk cId="1358235853" sldId="141169014"/>
        </pc:sldMkLst>
        <pc:spChg chg="mod">
          <ac:chgData name="Mascha Theiler" userId="a0f496a5-efc4-4b52-959d-5e95987cae8c" providerId="ADAL" clId="{46BE184E-840E-48D3-B624-C448522A216F}" dt="2026-02-05T12:54:16.365" v="494"/>
          <ac:spMkLst>
            <pc:docMk/>
            <pc:sldMk cId="1358235853" sldId="141169014"/>
            <ac:spMk id="2" creationId="{B59007A2-46F9-EA65-CDA8-BBCD7F4BB3E4}"/>
          </ac:spMkLst>
        </pc:spChg>
        <pc:spChg chg="mod">
          <ac:chgData name="Mascha Theiler" userId="a0f496a5-efc4-4b52-959d-5e95987cae8c" providerId="ADAL" clId="{46BE184E-840E-48D3-B624-C448522A216F}" dt="2026-02-05T12:56:11.881" v="530" actId="404"/>
          <ac:spMkLst>
            <pc:docMk/>
            <pc:sldMk cId="1358235853" sldId="141169014"/>
            <ac:spMk id="3" creationId="{2CBDD328-1C4A-DD6E-8EA3-64F054640B9F}"/>
          </ac:spMkLst>
        </pc:spChg>
        <pc:spChg chg="mod">
          <ac:chgData name="Mascha Theiler" userId="a0f496a5-efc4-4b52-959d-5e95987cae8c" providerId="ADAL" clId="{46BE184E-840E-48D3-B624-C448522A216F}" dt="2026-02-05T12:46:50.656" v="344" actId="20577"/>
          <ac:spMkLst>
            <pc:docMk/>
            <pc:sldMk cId="1358235853" sldId="141169014"/>
            <ac:spMk id="5" creationId="{52AD0755-CDBD-5076-9930-4CBF2FAE3031}"/>
          </ac:spMkLst>
        </pc:spChg>
      </pc:sldChg>
      <pc:sldChg chg="addSp delSp modSp mod">
        <pc:chgData name="Mascha Theiler" userId="a0f496a5-efc4-4b52-959d-5e95987cae8c" providerId="ADAL" clId="{46BE184E-840E-48D3-B624-C448522A216F}" dt="2026-02-05T12:40:48.664" v="273" actId="1037"/>
        <pc:sldMkLst>
          <pc:docMk/>
          <pc:sldMk cId="1155642287" sldId="141169015"/>
        </pc:sldMkLst>
        <pc:spChg chg="mod">
          <ac:chgData name="Mascha Theiler" userId="a0f496a5-efc4-4b52-959d-5e95987cae8c" providerId="ADAL" clId="{46BE184E-840E-48D3-B624-C448522A216F}" dt="2026-02-05T12:37:11.311" v="103"/>
          <ac:spMkLst>
            <pc:docMk/>
            <pc:sldMk cId="1155642287" sldId="141169015"/>
            <ac:spMk id="2" creationId="{5E3A953B-6A93-D5AC-34E4-BCFB6FEF7CA6}"/>
          </ac:spMkLst>
        </pc:spChg>
        <pc:spChg chg="mod">
          <ac:chgData name="Mascha Theiler" userId="a0f496a5-efc4-4b52-959d-5e95987cae8c" providerId="ADAL" clId="{46BE184E-840E-48D3-B624-C448522A216F}" dt="2026-02-05T12:36:53.026" v="101" actId="20577"/>
          <ac:spMkLst>
            <pc:docMk/>
            <pc:sldMk cId="1155642287" sldId="141169015"/>
            <ac:spMk id="5" creationId="{F0E250FD-73CD-1BD1-5815-C525C4B0DDE7}"/>
          </ac:spMkLst>
        </pc:spChg>
        <pc:spChg chg="mod">
          <ac:chgData name="Mascha Theiler" userId="a0f496a5-efc4-4b52-959d-5e95987cae8c" providerId="ADAL" clId="{46BE184E-840E-48D3-B624-C448522A216F}" dt="2026-02-05T12:37:01.090" v="102"/>
          <ac:spMkLst>
            <pc:docMk/>
            <pc:sldMk cId="1155642287" sldId="141169015"/>
            <ac:spMk id="20" creationId="{308A2488-ED87-DF18-8C7C-153A571AEC30}"/>
          </ac:spMkLst>
        </pc:spChg>
        <pc:picChg chg="del">
          <ac:chgData name="Mascha Theiler" userId="a0f496a5-efc4-4b52-959d-5e95987cae8c" providerId="ADAL" clId="{46BE184E-840E-48D3-B624-C448522A216F}" dt="2026-02-05T12:40:43.544" v="233" actId="478"/>
          <ac:picMkLst>
            <pc:docMk/>
            <pc:sldMk cId="1155642287" sldId="141169015"/>
            <ac:picMk id="6" creationId="{3E977E08-33EF-BDD0-423C-A29B101A96E4}"/>
          </ac:picMkLst>
        </pc:picChg>
        <pc:picChg chg="del">
          <ac:chgData name="Mascha Theiler" userId="a0f496a5-efc4-4b52-959d-5e95987cae8c" providerId="ADAL" clId="{46BE184E-840E-48D3-B624-C448522A216F}" dt="2026-02-05T12:37:38.755" v="114" actId="478"/>
          <ac:picMkLst>
            <pc:docMk/>
            <pc:sldMk cId="1155642287" sldId="141169015"/>
            <ac:picMk id="7" creationId="{6D13A3EA-7ABC-C8FE-47DB-CE5806B8930E}"/>
          </ac:picMkLst>
        </pc:picChg>
        <pc:picChg chg="del">
          <ac:chgData name="Mascha Theiler" userId="a0f496a5-efc4-4b52-959d-5e95987cae8c" providerId="ADAL" clId="{46BE184E-840E-48D3-B624-C448522A216F}" dt="2026-02-05T12:37:20" v="106" actId="478"/>
          <ac:picMkLst>
            <pc:docMk/>
            <pc:sldMk cId="1155642287" sldId="141169015"/>
            <ac:picMk id="8" creationId="{473844FD-09A7-0811-5FE8-11072B2508D1}"/>
          </ac:picMkLst>
        </pc:picChg>
        <pc:picChg chg="del">
          <ac:chgData name="Mascha Theiler" userId="a0f496a5-efc4-4b52-959d-5e95987cae8c" providerId="ADAL" clId="{46BE184E-840E-48D3-B624-C448522A216F}" dt="2026-02-05T12:37:51.973" v="118" actId="478"/>
          <ac:picMkLst>
            <pc:docMk/>
            <pc:sldMk cId="1155642287" sldId="141169015"/>
            <ac:picMk id="9" creationId="{6376F814-3080-2231-4AA0-B932A06AA853}"/>
          </ac:picMkLst>
        </pc:picChg>
        <pc:picChg chg="del">
          <ac:chgData name="Mascha Theiler" userId="a0f496a5-efc4-4b52-959d-5e95987cae8c" providerId="ADAL" clId="{46BE184E-840E-48D3-B624-C448522A216F}" dt="2026-02-05T12:38:53.748" v="126" actId="478"/>
          <ac:picMkLst>
            <pc:docMk/>
            <pc:sldMk cId="1155642287" sldId="141169015"/>
            <ac:picMk id="10" creationId="{D82C34FD-4CA8-7525-B11A-F8DCCE271970}"/>
          </ac:picMkLst>
        </pc:picChg>
        <pc:picChg chg="del">
          <ac:chgData name="Mascha Theiler" userId="a0f496a5-efc4-4b52-959d-5e95987cae8c" providerId="ADAL" clId="{46BE184E-840E-48D3-B624-C448522A216F}" dt="2026-02-05T12:40:09.253" v="216" actId="478"/>
          <ac:picMkLst>
            <pc:docMk/>
            <pc:sldMk cId="1155642287" sldId="141169015"/>
            <ac:picMk id="17" creationId="{85DD5A97-05E0-9F54-262A-9F9F4EFA11A8}"/>
          </ac:picMkLst>
        </pc:picChg>
        <pc:picChg chg="add mod">
          <ac:chgData name="Mascha Theiler" userId="a0f496a5-efc4-4b52-959d-5e95987cae8c" providerId="ADAL" clId="{46BE184E-840E-48D3-B624-C448522A216F}" dt="2026-02-05T12:37:29.698" v="111" actId="1038"/>
          <ac:picMkLst>
            <pc:docMk/>
            <pc:sldMk cId="1155642287" sldId="141169015"/>
            <ac:picMk id="18" creationId="{EF4CDFE9-5409-C5B7-60D3-55EEFBB67410}"/>
          </ac:picMkLst>
        </pc:picChg>
        <pc:picChg chg="del">
          <ac:chgData name="Mascha Theiler" userId="a0f496a5-efc4-4b52-959d-5e95987cae8c" providerId="ADAL" clId="{46BE184E-840E-48D3-B624-C448522A216F}" dt="2026-02-05T12:39:18.327" v="173" actId="478"/>
          <ac:picMkLst>
            <pc:docMk/>
            <pc:sldMk cId="1155642287" sldId="141169015"/>
            <ac:picMk id="19" creationId="{5B8C07DB-D3C2-1ED4-9D1A-014A3C7170DA}"/>
          </ac:picMkLst>
        </pc:picChg>
        <pc:picChg chg="add mod">
          <ac:chgData name="Mascha Theiler" userId="a0f496a5-efc4-4b52-959d-5e95987cae8c" providerId="ADAL" clId="{46BE184E-840E-48D3-B624-C448522A216F}" dt="2026-02-05T12:37:41.029" v="115" actId="1076"/>
          <ac:picMkLst>
            <pc:docMk/>
            <pc:sldMk cId="1155642287" sldId="141169015"/>
            <ac:picMk id="21" creationId="{CA116BB4-F5CC-74C2-50B8-801E7F4E24B3}"/>
          </ac:picMkLst>
        </pc:picChg>
        <pc:picChg chg="add mod">
          <ac:chgData name="Mascha Theiler" userId="a0f496a5-efc4-4b52-959d-5e95987cae8c" providerId="ADAL" clId="{46BE184E-840E-48D3-B624-C448522A216F}" dt="2026-02-05T12:37:54.492" v="119" actId="1076"/>
          <ac:picMkLst>
            <pc:docMk/>
            <pc:sldMk cId="1155642287" sldId="141169015"/>
            <ac:picMk id="22" creationId="{1CDA7760-77EF-891E-9885-B1ED77C9F813}"/>
          </ac:picMkLst>
        </pc:picChg>
        <pc:picChg chg="add mod">
          <ac:chgData name="Mascha Theiler" userId="a0f496a5-efc4-4b52-959d-5e95987cae8c" providerId="ADAL" clId="{46BE184E-840E-48D3-B624-C448522A216F}" dt="2026-02-05T12:38:59.109" v="168" actId="1038"/>
          <ac:picMkLst>
            <pc:docMk/>
            <pc:sldMk cId="1155642287" sldId="141169015"/>
            <ac:picMk id="1026" creationId="{B85B2D83-F9D2-55E1-5256-2DDEB160111E}"/>
          </ac:picMkLst>
        </pc:picChg>
        <pc:picChg chg="add mod">
          <ac:chgData name="Mascha Theiler" userId="a0f496a5-efc4-4b52-959d-5e95987cae8c" providerId="ADAL" clId="{46BE184E-840E-48D3-B624-C448522A216F}" dt="2026-02-05T12:39:32.909" v="209" actId="1076"/>
          <ac:picMkLst>
            <pc:docMk/>
            <pc:sldMk cId="1155642287" sldId="141169015"/>
            <ac:picMk id="1028" creationId="{74AB8E30-8DBC-25DB-D8BE-6D901B7DE336}"/>
          </ac:picMkLst>
        </pc:picChg>
        <pc:picChg chg="add mod">
          <ac:chgData name="Mascha Theiler" userId="a0f496a5-efc4-4b52-959d-5e95987cae8c" providerId="ADAL" clId="{46BE184E-840E-48D3-B624-C448522A216F}" dt="2026-02-05T12:40:15.528" v="229" actId="1038"/>
          <ac:picMkLst>
            <pc:docMk/>
            <pc:sldMk cId="1155642287" sldId="141169015"/>
            <ac:picMk id="1030" creationId="{92BF5CDA-8C11-EC39-4CC2-336B62C6C844}"/>
          </ac:picMkLst>
        </pc:picChg>
        <pc:picChg chg="add mod">
          <ac:chgData name="Mascha Theiler" userId="a0f496a5-efc4-4b52-959d-5e95987cae8c" providerId="ADAL" clId="{46BE184E-840E-48D3-B624-C448522A216F}" dt="2026-02-05T12:40:48.664" v="273" actId="1037"/>
          <ac:picMkLst>
            <pc:docMk/>
            <pc:sldMk cId="1155642287" sldId="141169015"/>
            <ac:picMk id="1032" creationId="{AB994F9C-A877-0BD4-6D32-0F9687DE60E6}"/>
          </ac:picMkLst>
        </pc:picChg>
      </pc:sldChg>
      <pc:sldChg chg="modSp mod">
        <pc:chgData name="Mascha Theiler" userId="a0f496a5-efc4-4b52-959d-5e95987cae8c" providerId="ADAL" clId="{46BE184E-840E-48D3-B624-C448522A216F}" dt="2026-02-05T12:46:34.787" v="324" actId="12"/>
        <pc:sldMkLst>
          <pc:docMk/>
          <pc:sldMk cId="3920161085" sldId="141169016"/>
        </pc:sldMkLst>
        <pc:spChg chg="mod">
          <ac:chgData name="Mascha Theiler" userId="a0f496a5-efc4-4b52-959d-5e95987cae8c" providerId="ADAL" clId="{46BE184E-840E-48D3-B624-C448522A216F}" dt="2026-02-05T12:41:04.837" v="274"/>
          <ac:spMkLst>
            <pc:docMk/>
            <pc:sldMk cId="3920161085" sldId="141169016"/>
            <ac:spMk id="2" creationId="{70798453-C997-95A2-1CE2-DB06558C9443}"/>
          </ac:spMkLst>
        </pc:spChg>
        <pc:spChg chg="mod">
          <ac:chgData name="Mascha Theiler" userId="a0f496a5-efc4-4b52-959d-5e95987cae8c" providerId="ADAL" clId="{46BE184E-840E-48D3-B624-C448522A216F}" dt="2026-02-05T12:46:34.787" v="324" actId="12"/>
          <ac:spMkLst>
            <pc:docMk/>
            <pc:sldMk cId="3920161085" sldId="141169016"/>
            <ac:spMk id="3" creationId="{E1134C37-16BD-2DC0-EB07-DC15D0ECA40D}"/>
          </ac:spMkLst>
        </pc:spChg>
        <pc:spChg chg="mod">
          <ac:chgData name="Mascha Theiler" userId="a0f496a5-efc4-4b52-959d-5e95987cae8c" providerId="ADAL" clId="{46BE184E-840E-48D3-B624-C448522A216F}" dt="2026-02-05T12:36:45.254" v="82" actId="20577"/>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05T12:42:46.598" v="289"/>
        <pc:sldMkLst>
          <pc:docMk/>
          <pc:sldMk cId="263958080" sldId="141169018"/>
        </pc:sldMkLst>
        <pc:spChg chg="mod">
          <ac:chgData name="Mascha Theiler" userId="a0f496a5-efc4-4b52-959d-5e95987cae8c" providerId="ADAL" clId="{46BE184E-840E-48D3-B624-C448522A216F}" dt="2026-02-05T12:36:32.901" v="44"/>
          <ac:spMkLst>
            <pc:docMk/>
            <pc:sldMk cId="263958080" sldId="141169018"/>
            <ac:spMk id="2" creationId="{1EC2DDDD-ACAF-61EF-B64D-250214EF3B1E}"/>
          </ac:spMkLst>
        </pc:spChg>
        <pc:spChg chg="mod">
          <ac:chgData name="Mascha Theiler" userId="a0f496a5-efc4-4b52-959d-5e95987cae8c" providerId="ADAL" clId="{46BE184E-840E-48D3-B624-C448522A216F}" dt="2026-02-05T12:42:46.598" v="289"/>
          <ac:spMkLst>
            <pc:docMk/>
            <pc:sldMk cId="263958080" sldId="141169018"/>
            <ac:spMk id="3" creationId="{5CF55C2E-5172-48EC-D8E3-6C4AEC2D483E}"/>
          </ac:spMkLst>
        </pc:spChg>
        <pc:spChg chg="mod">
          <ac:chgData name="Mascha Theiler" userId="a0f496a5-efc4-4b52-959d-5e95987cae8c" providerId="ADAL" clId="{46BE184E-840E-48D3-B624-C448522A216F}" dt="2026-02-05T12:36:38.629" v="63"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5T15:11:20.434" v="1673" actId="20577"/>
        <pc:sldMkLst>
          <pc:docMk/>
          <pc:sldMk cId="3920471261" sldId="141169022"/>
        </pc:sldMkLst>
        <pc:spChg chg="mod">
          <ac:chgData name="Mascha Theiler" userId="a0f496a5-efc4-4b52-959d-5e95987cae8c" providerId="ADAL" clId="{46BE184E-840E-48D3-B624-C448522A216F}" dt="2026-02-05T15:00:32.104" v="1592" actId="20577"/>
          <ac:spMkLst>
            <pc:docMk/>
            <pc:sldMk cId="3920471261" sldId="141169022"/>
            <ac:spMk id="2" creationId="{A006DF3F-530F-BA46-60BB-9B7DCE48DD76}"/>
          </ac:spMkLst>
        </pc:spChg>
        <pc:spChg chg="mod">
          <ac:chgData name="Mascha Theiler" userId="a0f496a5-efc4-4b52-959d-5e95987cae8c" providerId="ADAL" clId="{46BE184E-840E-48D3-B624-C448522A216F}" dt="2026-02-05T15:11:20.434" v="1673" actId="20577"/>
          <ac:spMkLst>
            <pc:docMk/>
            <pc:sldMk cId="3920471261" sldId="141169022"/>
            <ac:spMk id="3" creationId="{5DA69535-512D-261C-A323-8A0262DC8AF8}"/>
          </ac:spMkLst>
        </pc:spChg>
        <pc:spChg chg="mod">
          <ac:chgData name="Mascha Theiler" userId="a0f496a5-efc4-4b52-959d-5e95987cae8c" providerId="ADAL" clId="{46BE184E-840E-48D3-B624-C448522A216F}" dt="2026-02-05T14:51:13.399" v="1308" actId="20577"/>
          <ac:spMkLst>
            <pc:docMk/>
            <pc:sldMk cId="3920471261" sldId="141169022"/>
            <ac:spMk id="5" creationId="{CBB0896D-5B22-17C5-38F7-DBA2E613B559}"/>
          </ac:spMkLst>
        </pc:spChg>
      </pc:sldChg>
      <pc:sldChg chg="modSp mod">
        <pc:chgData name="Mascha Theiler" userId="a0f496a5-efc4-4b52-959d-5e95987cae8c" providerId="ADAL" clId="{46BE184E-840E-48D3-B624-C448522A216F}" dt="2026-02-05T15:02:18.447" v="1628" actId="20577"/>
        <pc:sldMkLst>
          <pc:docMk/>
          <pc:sldMk cId="1046751826" sldId="141169023"/>
        </pc:sldMkLst>
        <pc:spChg chg="mod">
          <ac:chgData name="Mascha Theiler" userId="a0f496a5-efc4-4b52-959d-5e95987cae8c" providerId="ADAL" clId="{46BE184E-840E-48D3-B624-C448522A216F}" dt="2026-02-05T15:01:35.948" v="1607"/>
          <ac:spMkLst>
            <pc:docMk/>
            <pc:sldMk cId="1046751826" sldId="141169023"/>
            <ac:spMk id="2" creationId="{20898203-344C-0809-EC9E-A5037D92BC11}"/>
          </ac:spMkLst>
        </pc:spChg>
        <pc:spChg chg="mod">
          <ac:chgData name="Mascha Theiler" userId="a0f496a5-efc4-4b52-959d-5e95987cae8c" providerId="ADAL" clId="{46BE184E-840E-48D3-B624-C448522A216F}" dt="2026-02-05T15:02:18.447" v="1628" actId="20577"/>
          <ac:spMkLst>
            <pc:docMk/>
            <pc:sldMk cId="1046751826" sldId="141169023"/>
            <ac:spMk id="3" creationId="{85167E08-5CF8-E24A-92D6-6CE7AA4A474F}"/>
          </ac:spMkLst>
        </pc:spChg>
        <pc:spChg chg="mod">
          <ac:chgData name="Mascha Theiler" userId="a0f496a5-efc4-4b52-959d-5e95987cae8c" providerId="ADAL" clId="{46BE184E-840E-48D3-B624-C448522A216F}" dt="2026-02-05T14:51:06.713" v="1289" actId="20577"/>
          <ac:spMkLst>
            <pc:docMk/>
            <pc:sldMk cId="1046751826" sldId="141169023"/>
            <ac:spMk id="5" creationId="{04CF1D97-0AFB-22E6-D647-780E16D530CD}"/>
          </ac:spMkLst>
        </pc:spChg>
      </pc:sldChg>
      <pc:sldChg chg="modSp mod">
        <pc:chgData name="Mascha Theiler" userId="a0f496a5-efc4-4b52-959d-5e95987cae8c" providerId="ADAL" clId="{46BE184E-840E-48D3-B624-C448522A216F}" dt="2026-02-05T14:35:54.326" v="1190"/>
        <pc:sldMkLst>
          <pc:docMk/>
          <pc:sldMk cId="1008454355" sldId="141169025"/>
        </pc:sldMkLst>
        <pc:spChg chg="mod">
          <ac:chgData name="Mascha Theiler" userId="a0f496a5-efc4-4b52-959d-5e95987cae8c" providerId="ADAL" clId="{46BE184E-840E-48D3-B624-C448522A216F}" dt="2026-02-05T14:29:17.720" v="1080" actId="20577"/>
          <ac:spMkLst>
            <pc:docMk/>
            <pc:sldMk cId="1008454355" sldId="141169025"/>
            <ac:spMk id="2" creationId="{329EC74B-04C2-B603-0B78-6B6E85F8FB06}"/>
          </ac:spMkLst>
        </pc:spChg>
        <pc:spChg chg="mod">
          <ac:chgData name="Mascha Theiler" userId="a0f496a5-efc4-4b52-959d-5e95987cae8c" providerId="ADAL" clId="{46BE184E-840E-48D3-B624-C448522A216F}" dt="2026-02-05T14:35:54.326" v="1190"/>
          <ac:spMkLst>
            <pc:docMk/>
            <pc:sldMk cId="1008454355" sldId="141169025"/>
            <ac:spMk id="3" creationId="{7F8DED11-14E7-1B38-E38B-A193A588131D}"/>
          </ac:spMkLst>
        </pc:spChg>
        <pc:spChg chg="mod">
          <ac:chgData name="Mascha Theiler" userId="a0f496a5-efc4-4b52-959d-5e95987cae8c" providerId="ADAL" clId="{46BE184E-840E-48D3-B624-C448522A216F}" dt="2026-02-05T13:59:56.578" v="1014" actId="20577"/>
          <ac:spMkLst>
            <pc:docMk/>
            <pc:sldMk cId="1008454355" sldId="141169025"/>
            <ac:spMk id="5" creationId="{AE57AA9A-49EB-E4FA-CEDE-BADE729AD9ED}"/>
          </ac:spMkLst>
        </pc:spChg>
      </pc:sldChg>
      <pc:sldChg chg="modSp mod">
        <pc:chgData name="Mascha Theiler" userId="a0f496a5-efc4-4b52-959d-5e95987cae8c" providerId="ADAL" clId="{46BE184E-840E-48D3-B624-C448522A216F}" dt="2026-02-05T14:32:30.120" v="1136" actId="20577"/>
        <pc:sldMkLst>
          <pc:docMk/>
          <pc:sldMk cId="169780083" sldId="141169026"/>
        </pc:sldMkLst>
        <pc:spChg chg="mod">
          <ac:chgData name="Mascha Theiler" userId="a0f496a5-efc4-4b52-959d-5e95987cae8c" providerId="ADAL" clId="{46BE184E-840E-48D3-B624-C448522A216F}" dt="2026-02-05T14:28:59.713" v="1065" actId="113"/>
          <ac:spMkLst>
            <pc:docMk/>
            <pc:sldMk cId="169780083" sldId="141169026"/>
            <ac:spMk id="2" creationId="{EE116C34-0DE9-D356-9CAC-1C83C93F0F01}"/>
          </ac:spMkLst>
        </pc:spChg>
        <pc:spChg chg="mod">
          <ac:chgData name="Mascha Theiler" userId="a0f496a5-efc4-4b52-959d-5e95987cae8c" providerId="ADAL" clId="{46BE184E-840E-48D3-B624-C448522A216F}" dt="2026-02-05T14:32:30.120" v="1136" actId="20577"/>
          <ac:spMkLst>
            <pc:docMk/>
            <pc:sldMk cId="169780083" sldId="141169026"/>
            <ac:spMk id="3" creationId="{F52DE692-E9ED-8E13-4726-3A3AE42A46A8}"/>
          </ac:spMkLst>
        </pc:spChg>
        <pc:spChg chg="mod">
          <ac:chgData name="Mascha Theiler" userId="a0f496a5-efc4-4b52-959d-5e95987cae8c" providerId="ADAL" clId="{46BE184E-840E-48D3-B624-C448522A216F}" dt="2026-02-05T13:59:49.700" v="995" actId="20577"/>
          <ac:spMkLst>
            <pc:docMk/>
            <pc:sldMk cId="169780083" sldId="141169026"/>
            <ac:spMk id="5" creationId="{51DD1927-D809-E49D-9F20-B6984EB8D28A}"/>
          </ac:spMkLst>
        </pc:spChg>
      </pc:sldChg>
      <pc:sldChg chg="modSp mod">
        <pc:chgData name="Mascha Theiler" userId="a0f496a5-efc4-4b52-959d-5e95987cae8c" providerId="ADAL" clId="{46BE184E-840E-48D3-B624-C448522A216F}" dt="2026-02-05T13:39:41.663" v="909" actId="113"/>
        <pc:sldMkLst>
          <pc:docMk/>
          <pc:sldMk cId="2816051162" sldId="141169034"/>
        </pc:sldMkLst>
        <pc:spChg chg="mod">
          <ac:chgData name="Mascha Theiler" userId="a0f496a5-efc4-4b52-959d-5e95987cae8c" providerId="ADAL" clId="{46BE184E-840E-48D3-B624-C448522A216F}" dt="2026-02-05T13:21:53.921" v="696" actId="20577"/>
          <ac:spMkLst>
            <pc:docMk/>
            <pc:sldMk cId="2816051162" sldId="141169034"/>
            <ac:spMk id="2" creationId="{D5AEDD10-FFA0-DA57-5119-8A6061617419}"/>
          </ac:spMkLst>
        </pc:spChg>
        <pc:spChg chg="mod">
          <ac:chgData name="Mascha Theiler" userId="a0f496a5-efc4-4b52-959d-5e95987cae8c" providerId="ADAL" clId="{46BE184E-840E-48D3-B624-C448522A216F}" dt="2026-02-05T13:39:41.663" v="909" actId="113"/>
          <ac:spMkLst>
            <pc:docMk/>
            <pc:sldMk cId="2816051162" sldId="141169034"/>
            <ac:spMk id="3" creationId="{6F113DC4-8EBF-1DC6-2E2B-F96F41DFD205}"/>
          </ac:spMkLst>
        </pc:spChg>
        <pc:spChg chg="mod">
          <ac:chgData name="Mascha Theiler" userId="a0f496a5-efc4-4b52-959d-5e95987cae8c" providerId="ADAL" clId="{46BE184E-840E-48D3-B624-C448522A216F}" dt="2026-02-05T12:47:25.649" v="441" actId="20577"/>
          <ac:spMkLst>
            <pc:docMk/>
            <pc:sldMk cId="2816051162" sldId="141169034"/>
            <ac:spMk id="5" creationId="{D70553F8-BBA9-859A-5D49-9F1089D74AB8}"/>
          </ac:spMkLst>
        </pc:spChg>
      </pc:sldChg>
      <pc:sldChg chg="del">
        <pc:chgData name="Mascha Theiler" userId="a0f496a5-efc4-4b52-959d-5e95987cae8c" providerId="ADAL" clId="{46BE184E-840E-48D3-B624-C448522A216F}" dt="2026-02-05T14:55:57.149" v="1491" actId="47"/>
        <pc:sldMkLst>
          <pc:docMk/>
          <pc:sldMk cId="2688396799" sldId="141169035"/>
        </pc:sldMkLst>
      </pc:sldChg>
      <pc:sldChg chg="del">
        <pc:chgData name="Mascha Theiler" userId="a0f496a5-efc4-4b52-959d-5e95987cae8c" providerId="ADAL" clId="{46BE184E-840E-48D3-B624-C448522A216F}" dt="2026-02-05T14:55:54.026" v="1490" actId="47"/>
        <pc:sldMkLst>
          <pc:docMk/>
          <pc:sldMk cId="2323148800" sldId="141169036"/>
        </pc:sldMkLst>
      </pc:sldChg>
      <pc:sldChg chg="modSp mod">
        <pc:chgData name="Mascha Theiler" userId="a0f496a5-efc4-4b52-959d-5e95987cae8c" providerId="ADAL" clId="{46BE184E-840E-48D3-B624-C448522A216F}" dt="2026-02-05T13:13:10.015" v="575" actId="20577"/>
        <pc:sldMkLst>
          <pc:docMk/>
          <pc:sldMk cId="4003310603" sldId="141169057"/>
        </pc:sldMkLst>
        <pc:spChg chg="mod">
          <ac:chgData name="Mascha Theiler" userId="a0f496a5-efc4-4b52-959d-5e95987cae8c" providerId="ADAL" clId="{46BE184E-840E-48D3-B624-C448522A216F}" dt="2026-02-05T13:13:10.015" v="575" actId="20577"/>
          <ac:spMkLst>
            <pc:docMk/>
            <pc:sldMk cId="4003310603" sldId="141169057"/>
            <ac:spMk id="2" creationId="{EAD710DF-A093-2570-9ABB-0BF57237AEF3}"/>
          </ac:spMkLst>
        </pc:spChg>
        <pc:spChg chg="mod">
          <ac:chgData name="Mascha Theiler" userId="a0f496a5-efc4-4b52-959d-5e95987cae8c" providerId="ADAL" clId="{46BE184E-840E-48D3-B624-C448522A216F}" dt="2026-02-05T13:12:38.598" v="544"/>
          <ac:spMkLst>
            <pc:docMk/>
            <pc:sldMk cId="4003310603" sldId="141169057"/>
            <ac:spMk id="5" creationId="{83CF003B-6C19-C316-0B25-71E22A59B9C2}"/>
          </ac:spMkLst>
        </pc:spChg>
        <pc:spChg chg="mod">
          <ac:chgData name="Mascha Theiler" userId="a0f496a5-efc4-4b52-959d-5e95987cae8c" providerId="ADAL" clId="{46BE184E-840E-48D3-B624-C448522A216F}" dt="2026-02-05T13:12:42.223" v="554" actId="20577"/>
          <ac:spMkLst>
            <pc:docMk/>
            <pc:sldMk cId="4003310603" sldId="141169057"/>
            <ac:spMk id="6" creationId="{5F219A8A-2663-337C-5EF1-A4185DF62263}"/>
          </ac:spMkLst>
        </pc:spChg>
        <pc:spChg chg="mod">
          <ac:chgData name="Mascha Theiler" userId="a0f496a5-efc4-4b52-959d-5e95987cae8c" providerId="ADAL" clId="{46BE184E-840E-48D3-B624-C448522A216F}" dt="2026-02-05T12:46:56.817" v="363" actId="20577"/>
          <ac:spMkLst>
            <pc:docMk/>
            <pc:sldMk cId="4003310603" sldId="141169057"/>
            <ac:spMk id="8" creationId="{C520588B-530A-315E-5891-4FAD390D8B3C}"/>
          </ac:spMkLst>
        </pc:spChg>
      </pc:sldChg>
      <pc:sldChg chg="modSp add del mod">
        <pc:chgData name="Mascha Theiler" userId="a0f496a5-efc4-4b52-959d-5e95987cae8c" providerId="ADAL" clId="{46BE184E-840E-48D3-B624-C448522A216F}" dt="2026-02-05T13:19:30.715" v="649"/>
        <pc:sldMkLst>
          <pc:docMk/>
          <pc:sldMk cId="2266417581" sldId="141169061"/>
        </pc:sldMkLst>
        <pc:spChg chg="mod">
          <ac:chgData name="Mascha Theiler" userId="a0f496a5-efc4-4b52-959d-5e95987cae8c" providerId="ADAL" clId="{46BE184E-840E-48D3-B624-C448522A216F}" dt="2026-02-05T13:13:32.497" v="603" actId="20577"/>
          <ac:spMkLst>
            <pc:docMk/>
            <pc:sldMk cId="2266417581" sldId="141169061"/>
            <ac:spMk id="2" creationId="{265B34B2-9353-C981-2F85-063BCDDF228B}"/>
          </ac:spMkLst>
        </pc:spChg>
        <pc:spChg chg="mod">
          <ac:chgData name="Mascha Theiler" userId="a0f496a5-efc4-4b52-959d-5e95987cae8c" providerId="ADAL" clId="{46BE184E-840E-48D3-B624-C448522A216F}" dt="2026-02-05T13:19:30.715" v="649"/>
          <ac:spMkLst>
            <pc:docMk/>
            <pc:sldMk cId="2266417581" sldId="141169061"/>
            <ac:spMk id="3" creationId="{E4BAF6D7-447C-6284-1205-B55D736B6A2B}"/>
          </ac:spMkLst>
        </pc:spChg>
        <pc:spChg chg="mod">
          <ac:chgData name="Mascha Theiler" userId="a0f496a5-efc4-4b52-959d-5e95987cae8c" providerId="ADAL" clId="{46BE184E-840E-48D3-B624-C448522A216F}" dt="2026-02-05T12:47:04.771" v="384" actId="20577"/>
          <ac:spMkLst>
            <pc:docMk/>
            <pc:sldMk cId="2266417581" sldId="141169061"/>
            <ac:spMk id="5" creationId="{6A912A73-7B7F-C57D-6137-DB68FF6D012A}"/>
          </ac:spMkLst>
        </pc:spChg>
      </pc:sldChg>
      <pc:sldChg chg="modSp mod">
        <pc:chgData name="Mascha Theiler" userId="a0f496a5-efc4-4b52-959d-5e95987cae8c" providerId="ADAL" clId="{46BE184E-840E-48D3-B624-C448522A216F}" dt="2026-02-05T13:26:38.552" v="833"/>
        <pc:sldMkLst>
          <pc:docMk/>
          <pc:sldMk cId="3478888817" sldId="141169063"/>
        </pc:sldMkLst>
        <pc:spChg chg="mod">
          <ac:chgData name="Mascha Theiler" userId="a0f496a5-efc4-4b52-959d-5e95987cae8c" providerId="ADAL" clId="{46BE184E-840E-48D3-B624-C448522A216F}" dt="2026-02-05T13:22:01.777" v="708" actId="20577"/>
          <ac:spMkLst>
            <pc:docMk/>
            <pc:sldMk cId="3478888817" sldId="141169063"/>
            <ac:spMk id="2" creationId="{0BB308ED-5543-275D-DC3D-8C5D77A38B49}"/>
          </ac:spMkLst>
        </pc:spChg>
        <pc:spChg chg="mod">
          <ac:chgData name="Mascha Theiler" userId="a0f496a5-efc4-4b52-959d-5e95987cae8c" providerId="ADAL" clId="{46BE184E-840E-48D3-B624-C448522A216F}" dt="2026-02-05T13:26:38.552" v="833"/>
          <ac:spMkLst>
            <pc:docMk/>
            <pc:sldMk cId="3478888817" sldId="141169063"/>
            <ac:spMk id="5" creationId="{914D594E-95A3-1C70-1E04-1D40785F1437}"/>
          </ac:spMkLst>
        </pc:spChg>
        <pc:spChg chg="mod">
          <ac:chgData name="Mascha Theiler" userId="a0f496a5-efc4-4b52-959d-5e95987cae8c" providerId="ADAL" clId="{46BE184E-840E-48D3-B624-C448522A216F}" dt="2026-02-05T13:22:05.838" v="718" actId="20577"/>
          <ac:spMkLst>
            <pc:docMk/>
            <pc:sldMk cId="3478888817" sldId="141169063"/>
            <ac:spMk id="6" creationId="{A0207F74-4D22-AF65-557E-CF0CD78EABBA}"/>
          </ac:spMkLst>
        </pc:spChg>
        <pc:spChg chg="mod">
          <ac:chgData name="Mascha Theiler" userId="a0f496a5-efc4-4b52-959d-5e95987cae8c" providerId="ADAL" clId="{46BE184E-840E-48D3-B624-C448522A216F}" dt="2026-02-05T12:47:39.813" v="460" actId="20577"/>
          <ac:spMkLst>
            <pc:docMk/>
            <pc:sldMk cId="3478888817" sldId="141169063"/>
            <ac:spMk id="8" creationId="{41086757-DE60-B894-8A96-1D6E5F876998}"/>
          </ac:spMkLst>
        </pc:spChg>
      </pc:sldChg>
      <pc:sldChg chg="modSp mod">
        <pc:chgData name="Mascha Theiler" userId="a0f496a5-efc4-4b52-959d-5e95987cae8c" providerId="ADAL" clId="{46BE184E-840E-48D3-B624-C448522A216F}" dt="2026-02-05T13:24:39.704" v="817" actId="5793"/>
        <pc:sldMkLst>
          <pc:docMk/>
          <pc:sldMk cId="1045434464" sldId="141169064"/>
        </pc:sldMkLst>
        <pc:spChg chg="mod">
          <ac:chgData name="Mascha Theiler" userId="a0f496a5-efc4-4b52-959d-5e95987cae8c" providerId="ADAL" clId="{46BE184E-840E-48D3-B624-C448522A216F}" dt="2026-02-05T13:22:19.184" v="727" actId="20577"/>
          <ac:spMkLst>
            <pc:docMk/>
            <pc:sldMk cId="1045434464" sldId="141169064"/>
            <ac:spMk id="2" creationId="{8F3FBE87-8EED-BAE9-983C-7C719172EB3A}"/>
          </ac:spMkLst>
        </pc:spChg>
        <pc:spChg chg="mod">
          <ac:chgData name="Mascha Theiler" userId="a0f496a5-efc4-4b52-959d-5e95987cae8c" providerId="ADAL" clId="{46BE184E-840E-48D3-B624-C448522A216F}" dt="2026-02-05T13:24:39.704" v="817" actId="5793"/>
          <ac:spMkLst>
            <pc:docMk/>
            <pc:sldMk cId="1045434464" sldId="141169064"/>
            <ac:spMk id="6" creationId="{9F92883E-83ED-C589-6F36-F106744E7F7B}"/>
          </ac:spMkLst>
        </pc:spChg>
        <pc:spChg chg="mod">
          <ac:chgData name="Mascha Theiler" userId="a0f496a5-efc4-4b52-959d-5e95987cae8c" providerId="ADAL" clId="{46BE184E-840E-48D3-B624-C448522A216F}" dt="2026-02-05T13:22:23.087" v="734" actId="20577"/>
          <ac:spMkLst>
            <pc:docMk/>
            <pc:sldMk cId="1045434464" sldId="141169064"/>
            <ac:spMk id="7" creationId="{455A5540-2A90-7D18-67D2-5EB99C0F8FDB}"/>
          </ac:spMkLst>
        </pc:spChg>
        <pc:spChg chg="mod">
          <ac:chgData name="Mascha Theiler" userId="a0f496a5-efc4-4b52-959d-5e95987cae8c" providerId="ADAL" clId="{46BE184E-840E-48D3-B624-C448522A216F}" dt="2026-02-05T12:47:45.411" v="479" actId="20577"/>
          <ac:spMkLst>
            <pc:docMk/>
            <pc:sldMk cId="1045434464" sldId="141169064"/>
            <ac:spMk id="8" creationId="{6E76808B-FB65-2E92-7E8E-7D6E5A34D283}"/>
          </ac:spMkLst>
        </pc:spChg>
      </pc:sldChg>
      <pc:sldChg chg="modSp mod">
        <pc:chgData name="Mascha Theiler" userId="a0f496a5-efc4-4b52-959d-5e95987cae8c" providerId="ADAL" clId="{46BE184E-840E-48D3-B624-C448522A216F}" dt="2026-02-05T13:42:34.019" v="927"/>
        <pc:sldMkLst>
          <pc:docMk/>
          <pc:sldMk cId="269939120" sldId="141169065"/>
        </pc:sldMkLst>
        <pc:spChg chg="mod">
          <ac:chgData name="Mascha Theiler" userId="a0f496a5-efc4-4b52-959d-5e95987cae8c" providerId="ADAL" clId="{46BE184E-840E-48D3-B624-C448522A216F}" dt="2026-02-05T13:22:34.947" v="741" actId="20577"/>
          <ac:spMkLst>
            <pc:docMk/>
            <pc:sldMk cId="269939120" sldId="141169065"/>
            <ac:spMk id="2" creationId="{D6EF4BB0-D037-31F5-815A-D00B18CD8AF9}"/>
          </ac:spMkLst>
        </pc:spChg>
        <pc:spChg chg="mod">
          <ac:chgData name="Mascha Theiler" userId="a0f496a5-efc4-4b52-959d-5e95987cae8c" providerId="ADAL" clId="{46BE184E-840E-48D3-B624-C448522A216F}" dt="2026-02-05T13:42:34.019" v="927"/>
          <ac:spMkLst>
            <pc:docMk/>
            <pc:sldMk cId="269939120" sldId="141169065"/>
            <ac:spMk id="3" creationId="{5DD00505-1D77-C557-D434-F0E0C45943AF}"/>
          </ac:spMkLst>
        </pc:spChg>
        <pc:spChg chg="mod">
          <ac:chgData name="Mascha Theiler" userId="a0f496a5-efc4-4b52-959d-5e95987cae8c" providerId="ADAL" clId="{46BE184E-840E-48D3-B624-C448522A216F}" dt="2026-02-05T13:23:04.607" v="769" actId="20577"/>
          <ac:spMkLst>
            <pc:docMk/>
            <pc:sldMk cId="269939120" sldId="141169065"/>
            <ac:spMk id="5" creationId="{8DF2F8EF-8825-A110-4071-C8E41AFDE022}"/>
          </ac:spMkLst>
        </pc:spChg>
      </pc:sldChg>
      <pc:sldChg chg="modSp mod">
        <pc:chgData name="Mascha Theiler" userId="a0f496a5-efc4-4b52-959d-5e95987cae8c" providerId="ADAL" clId="{46BE184E-840E-48D3-B624-C448522A216F}" dt="2026-02-05T13:58:43.423" v="953"/>
        <pc:sldMkLst>
          <pc:docMk/>
          <pc:sldMk cId="2410309830" sldId="141169066"/>
        </pc:sldMkLst>
        <pc:spChg chg="mod">
          <ac:chgData name="Mascha Theiler" userId="a0f496a5-efc4-4b52-959d-5e95987cae8c" providerId="ADAL" clId="{46BE184E-840E-48D3-B624-C448522A216F}" dt="2026-02-05T13:22:41.209" v="744" actId="20577"/>
          <ac:spMkLst>
            <pc:docMk/>
            <pc:sldMk cId="2410309830" sldId="141169066"/>
            <ac:spMk id="2" creationId="{A1EC4783-1A3B-9DB8-9599-9BC0568B35C3}"/>
          </ac:spMkLst>
        </pc:spChg>
        <pc:spChg chg="mod">
          <ac:chgData name="Mascha Theiler" userId="a0f496a5-efc4-4b52-959d-5e95987cae8c" providerId="ADAL" clId="{46BE184E-840E-48D3-B624-C448522A216F}" dt="2026-02-05T13:58:43.423" v="953"/>
          <ac:spMkLst>
            <pc:docMk/>
            <pc:sldMk cId="2410309830" sldId="141169066"/>
            <ac:spMk id="3" creationId="{5322A6FE-B3AB-7089-6781-095DDA58068C}"/>
          </ac:spMkLst>
        </pc:spChg>
        <pc:spChg chg="mod">
          <ac:chgData name="Mascha Theiler" userId="a0f496a5-efc4-4b52-959d-5e95987cae8c" providerId="ADAL" clId="{46BE184E-840E-48D3-B624-C448522A216F}" dt="2026-02-05T13:23:10.765" v="788" actId="20577"/>
          <ac:spMkLst>
            <pc:docMk/>
            <pc:sldMk cId="2410309830" sldId="141169066"/>
            <ac:spMk id="5" creationId="{ABCB9658-2972-04DA-0249-149F992548E7}"/>
          </ac:spMkLst>
        </pc:spChg>
      </pc:sldChg>
      <pc:sldChg chg="modSp mod">
        <pc:chgData name="Mascha Theiler" userId="a0f496a5-efc4-4b52-959d-5e95987cae8c" providerId="ADAL" clId="{46BE184E-840E-48D3-B624-C448522A216F}" dt="2026-02-05T14:27:59.125" v="1049"/>
        <pc:sldMkLst>
          <pc:docMk/>
          <pc:sldMk cId="3871055159" sldId="141169067"/>
        </pc:sldMkLst>
        <pc:spChg chg="mod">
          <ac:chgData name="Mascha Theiler" userId="a0f496a5-efc4-4b52-959d-5e95987cae8c" providerId="ADAL" clId="{46BE184E-840E-48D3-B624-C448522A216F}" dt="2026-02-05T13:22:48.129" v="750" actId="20577"/>
          <ac:spMkLst>
            <pc:docMk/>
            <pc:sldMk cId="3871055159" sldId="141169067"/>
            <ac:spMk id="2" creationId="{A9FACB1D-EAB8-F96E-74EA-CAB3B185270F}"/>
          </ac:spMkLst>
        </pc:spChg>
        <pc:spChg chg="mod">
          <ac:chgData name="Mascha Theiler" userId="a0f496a5-efc4-4b52-959d-5e95987cae8c" providerId="ADAL" clId="{46BE184E-840E-48D3-B624-C448522A216F}" dt="2026-02-05T14:27:59.125" v="1049"/>
          <ac:spMkLst>
            <pc:docMk/>
            <pc:sldMk cId="3871055159" sldId="141169067"/>
            <ac:spMk id="3" creationId="{A537B41E-02E2-81ED-D884-02BCF03ACEFB}"/>
          </ac:spMkLst>
        </pc:spChg>
        <pc:spChg chg="mod">
          <ac:chgData name="Mascha Theiler" userId="a0f496a5-efc4-4b52-959d-5e95987cae8c" providerId="ADAL" clId="{46BE184E-840E-48D3-B624-C448522A216F}" dt="2026-02-05T13:23:17.856" v="807" actId="20577"/>
          <ac:spMkLst>
            <pc:docMk/>
            <pc:sldMk cId="3871055159" sldId="141169067"/>
            <ac:spMk id="5" creationId="{77CBC49F-22A5-F851-2621-545B1F085359}"/>
          </ac:spMkLst>
        </pc:spChg>
      </pc:sldChg>
      <pc:sldChg chg="modSp mod">
        <pc:chgData name="Mascha Theiler" userId="a0f496a5-efc4-4b52-959d-5e95987cae8c" providerId="ADAL" clId="{46BE184E-840E-48D3-B624-C448522A216F}" dt="2026-02-05T14:28:33.058" v="1063"/>
        <pc:sldMkLst>
          <pc:docMk/>
          <pc:sldMk cId="591329047" sldId="141169068"/>
        </pc:sldMkLst>
        <pc:spChg chg="mod">
          <ac:chgData name="Mascha Theiler" userId="a0f496a5-efc4-4b52-959d-5e95987cae8c" providerId="ADAL" clId="{46BE184E-840E-48D3-B624-C448522A216F}" dt="2026-02-05T14:28:33.058" v="1063"/>
          <ac:spMkLst>
            <pc:docMk/>
            <pc:sldMk cId="591329047" sldId="141169068"/>
            <ac:spMk id="2" creationId="{E60299A2-BF7E-2DD4-8CAD-EF0A85F66849}"/>
          </ac:spMkLst>
        </pc:spChg>
        <pc:spChg chg="mod">
          <ac:chgData name="Mascha Theiler" userId="a0f496a5-efc4-4b52-959d-5e95987cae8c" providerId="ADAL" clId="{46BE184E-840E-48D3-B624-C448522A216F}" dt="2026-02-05T13:59:43.425" v="976" actId="20577"/>
          <ac:spMkLst>
            <pc:docMk/>
            <pc:sldMk cId="591329047" sldId="141169068"/>
            <ac:spMk id="5" creationId="{487E0DAA-37A8-A7E7-4934-0B84B600396E}"/>
          </ac:spMkLst>
        </pc:spChg>
        <pc:spChg chg="mod">
          <ac:chgData name="Mascha Theiler" userId="a0f496a5-efc4-4b52-959d-5e95987cae8c" providerId="ADAL" clId="{46BE184E-840E-48D3-B624-C448522A216F}" dt="2026-02-05T14:28:15.399" v="1062" actId="20577"/>
          <ac:spMkLst>
            <pc:docMk/>
            <pc:sldMk cId="591329047" sldId="141169068"/>
            <ac:spMk id="11" creationId="{3E050242-3C0A-15EB-CBEE-238516936194}"/>
          </ac:spMkLst>
        </pc:spChg>
      </pc:sldChg>
      <pc:sldChg chg="modSp mod">
        <pc:chgData name="Mascha Theiler" userId="a0f496a5-efc4-4b52-959d-5e95987cae8c" providerId="ADAL" clId="{46BE184E-840E-48D3-B624-C448522A216F}" dt="2026-02-05T14:50:14.415" v="1211" actId="5793"/>
        <pc:sldMkLst>
          <pc:docMk/>
          <pc:sldMk cId="714092823" sldId="141169071"/>
        </pc:sldMkLst>
        <pc:spChg chg="mod">
          <ac:chgData name="Mascha Theiler" userId="a0f496a5-efc4-4b52-959d-5e95987cae8c" providerId="ADAL" clId="{46BE184E-840E-48D3-B624-C448522A216F}" dt="2026-02-05T14:29:22.695" v="1081"/>
          <ac:spMkLst>
            <pc:docMk/>
            <pc:sldMk cId="714092823" sldId="141169071"/>
            <ac:spMk id="2" creationId="{01E3E6E0-3E5D-2C57-33BD-439013C2ACCF}"/>
          </ac:spMkLst>
        </pc:spChg>
        <pc:spChg chg="mod">
          <ac:chgData name="Mascha Theiler" userId="a0f496a5-efc4-4b52-959d-5e95987cae8c" providerId="ADAL" clId="{46BE184E-840E-48D3-B624-C448522A216F}" dt="2026-02-05T14:50:14.415" v="1211" actId="5793"/>
          <ac:spMkLst>
            <pc:docMk/>
            <pc:sldMk cId="714092823" sldId="141169071"/>
            <ac:spMk id="5" creationId="{A917D8D2-426C-BADF-D20E-8EC44887EDD2}"/>
          </ac:spMkLst>
        </pc:spChg>
        <pc:spChg chg="mod">
          <ac:chgData name="Mascha Theiler" userId="a0f496a5-efc4-4b52-959d-5e95987cae8c" providerId="ADAL" clId="{46BE184E-840E-48D3-B624-C448522A216F}" dt="2026-02-05T14:29:26.812" v="1091" actId="20577"/>
          <ac:spMkLst>
            <pc:docMk/>
            <pc:sldMk cId="714092823" sldId="141169071"/>
            <ac:spMk id="6" creationId="{201AB212-6CA7-2CE2-C049-D103A88DAEF2}"/>
          </ac:spMkLst>
        </pc:spChg>
        <pc:spChg chg="mod">
          <ac:chgData name="Mascha Theiler" userId="a0f496a5-efc4-4b52-959d-5e95987cae8c" providerId="ADAL" clId="{46BE184E-840E-48D3-B624-C448522A216F}" dt="2026-02-05T14:00:02.530" v="1033" actId="20577"/>
          <ac:spMkLst>
            <pc:docMk/>
            <pc:sldMk cId="714092823" sldId="141169071"/>
            <ac:spMk id="8" creationId="{3DA7137E-F1F8-2C16-1846-73E993992E03}"/>
          </ac:spMkLst>
        </pc:spChg>
        <pc:spChg chg="mod">
          <ac:chgData name="Mascha Theiler" userId="a0f496a5-efc4-4b52-959d-5e95987cae8c" providerId="ADAL" clId="{46BE184E-840E-48D3-B624-C448522A216F}" dt="2026-02-05T14:50:00.841" v="1208"/>
          <ac:spMkLst>
            <pc:docMk/>
            <pc:sldMk cId="714092823" sldId="141169071"/>
            <ac:spMk id="9" creationId="{9F46E6CF-5885-9310-3FAF-2D236A5B1628}"/>
          </ac:spMkLst>
        </pc:spChg>
        <pc:spChg chg="mod">
          <ac:chgData name="Mascha Theiler" userId="a0f496a5-efc4-4b52-959d-5e95987cae8c" providerId="ADAL" clId="{46BE184E-840E-48D3-B624-C448522A216F}" dt="2026-02-05T14:29:30.425" v="1098" actId="20577"/>
          <ac:spMkLst>
            <pc:docMk/>
            <pc:sldMk cId="714092823" sldId="141169071"/>
            <ac:spMk id="10" creationId="{79504E93-3859-78F0-4A53-F4EEC128C4EC}"/>
          </ac:spMkLst>
        </pc:spChg>
      </pc:sldChg>
      <pc:sldChg chg="modSp mod">
        <pc:chgData name="Mascha Theiler" userId="a0f496a5-efc4-4b52-959d-5e95987cae8c" providerId="ADAL" clId="{46BE184E-840E-48D3-B624-C448522A216F}" dt="2026-02-05T15:07:01.554" v="1636" actId="5793"/>
        <pc:sldMkLst>
          <pc:docMk/>
          <pc:sldMk cId="401855123" sldId="141169073"/>
        </pc:sldMkLst>
        <pc:spChg chg="mod">
          <ac:chgData name="Mascha Theiler" userId="a0f496a5-efc4-4b52-959d-5e95987cae8c" providerId="ADAL" clId="{46BE184E-840E-48D3-B624-C448522A216F}" dt="2026-02-05T14:29:43.288" v="1105" actId="20577"/>
          <ac:spMkLst>
            <pc:docMk/>
            <pc:sldMk cId="401855123" sldId="141169073"/>
            <ac:spMk id="2" creationId="{7AEDDFE1-568A-487C-AC94-89C86085CDA8}"/>
          </ac:spMkLst>
        </pc:spChg>
        <pc:spChg chg="mod">
          <ac:chgData name="Mascha Theiler" userId="a0f496a5-efc4-4b52-959d-5e95987cae8c" providerId="ADAL" clId="{46BE184E-840E-48D3-B624-C448522A216F}" dt="2026-02-05T15:07:01.554" v="1636" actId="5793"/>
          <ac:spMkLst>
            <pc:docMk/>
            <pc:sldMk cId="401855123" sldId="141169073"/>
            <ac:spMk id="3" creationId="{7105423F-1CB0-AF7C-0E32-B2903BDB4CF0}"/>
          </ac:spMkLst>
        </pc:spChg>
        <pc:spChg chg="mod">
          <ac:chgData name="Mascha Theiler" userId="a0f496a5-efc4-4b52-959d-5e95987cae8c" providerId="ADAL" clId="{46BE184E-840E-48D3-B624-C448522A216F}" dt="2026-02-05T14:50:46.152" v="1232" actId="20577"/>
          <ac:spMkLst>
            <pc:docMk/>
            <pc:sldMk cId="401855123" sldId="141169073"/>
            <ac:spMk id="5" creationId="{0449A5E4-3791-6D0F-72E1-6B918DEACAE0}"/>
          </ac:spMkLst>
        </pc:spChg>
      </pc:sldChg>
      <pc:sldChg chg="modSp mod">
        <pc:chgData name="Mascha Theiler" userId="a0f496a5-efc4-4b52-959d-5e95987cae8c" providerId="ADAL" clId="{46BE184E-840E-48D3-B624-C448522A216F}" dt="2026-02-05T15:06:16.567" v="1634" actId="113"/>
        <pc:sldMkLst>
          <pc:docMk/>
          <pc:sldMk cId="3164999125" sldId="141169074"/>
        </pc:sldMkLst>
        <pc:spChg chg="mod">
          <ac:chgData name="Mascha Theiler" userId="a0f496a5-efc4-4b52-959d-5e95987cae8c" providerId="ADAL" clId="{46BE184E-840E-48D3-B624-C448522A216F}" dt="2026-02-05T14:29:50.615" v="1111" actId="20577"/>
          <ac:spMkLst>
            <pc:docMk/>
            <pc:sldMk cId="3164999125" sldId="141169074"/>
            <ac:spMk id="2" creationId="{B69B644F-F878-4E4A-C5A8-8F671492B027}"/>
          </ac:spMkLst>
        </pc:spChg>
        <pc:spChg chg="mod">
          <ac:chgData name="Mascha Theiler" userId="a0f496a5-efc4-4b52-959d-5e95987cae8c" providerId="ADAL" clId="{46BE184E-840E-48D3-B624-C448522A216F}" dt="2026-02-05T15:06:16.567" v="1634" actId="113"/>
          <ac:spMkLst>
            <pc:docMk/>
            <pc:sldMk cId="3164999125" sldId="141169074"/>
            <ac:spMk id="3" creationId="{066E3C68-9F97-B666-6AC4-F5802010002C}"/>
          </ac:spMkLst>
        </pc:spChg>
        <pc:spChg chg="mod">
          <ac:chgData name="Mascha Theiler" userId="a0f496a5-efc4-4b52-959d-5e95987cae8c" providerId="ADAL" clId="{46BE184E-840E-48D3-B624-C448522A216F}" dt="2026-02-05T14:50:53.194" v="1251" actId="20577"/>
          <ac:spMkLst>
            <pc:docMk/>
            <pc:sldMk cId="3164999125" sldId="141169074"/>
            <ac:spMk id="5" creationId="{5502FA93-9D78-B69C-2EC2-991A1C68249E}"/>
          </ac:spMkLst>
        </pc:spChg>
      </pc:sldChg>
      <pc:sldChg chg="modSp mod">
        <pc:chgData name="Mascha Theiler" userId="a0f496a5-efc4-4b52-959d-5e95987cae8c" providerId="ADAL" clId="{46BE184E-840E-48D3-B624-C448522A216F}" dt="2026-02-05T15:03:24.951" v="1630" actId="5793"/>
        <pc:sldMkLst>
          <pc:docMk/>
          <pc:sldMk cId="859408878" sldId="141169075"/>
        </pc:sldMkLst>
        <pc:spChg chg="mod">
          <ac:chgData name="Mascha Theiler" userId="a0f496a5-efc4-4b52-959d-5e95987cae8c" providerId="ADAL" clId="{46BE184E-840E-48D3-B624-C448522A216F}" dt="2026-02-05T14:29:58.952" v="1117" actId="20577"/>
          <ac:spMkLst>
            <pc:docMk/>
            <pc:sldMk cId="859408878" sldId="141169075"/>
            <ac:spMk id="2" creationId="{2DD71BFE-071B-04BF-E88D-8D2512E5C71A}"/>
          </ac:spMkLst>
        </pc:spChg>
        <pc:spChg chg="mod">
          <ac:chgData name="Mascha Theiler" userId="a0f496a5-efc4-4b52-959d-5e95987cae8c" providerId="ADAL" clId="{46BE184E-840E-48D3-B624-C448522A216F}" dt="2026-02-05T15:03:24.951" v="1630" actId="5793"/>
          <ac:spMkLst>
            <pc:docMk/>
            <pc:sldMk cId="859408878" sldId="141169075"/>
            <ac:spMk id="3" creationId="{D99EE32F-79DB-82F0-33C8-02BD14BFD04B}"/>
          </ac:spMkLst>
        </pc:spChg>
        <pc:spChg chg="mod">
          <ac:chgData name="Mascha Theiler" userId="a0f496a5-efc4-4b52-959d-5e95987cae8c" providerId="ADAL" clId="{46BE184E-840E-48D3-B624-C448522A216F}" dt="2026-02-05T14:51:00.358" v="1270" actId="20577"/>
          <ac:spMkLst>
            <pc:docMk/>
            <pc:sldMk cId="859408878" sldId="141169075"/>
            <ac:spMk id="5" creationId="{05829DF1-2340-F834-A5ED-59D781BECB8C}"/>
          </ac:spMkLst>
        </pc:spChg>
      </pc:sldChg>
      <pc:sldChg chg="modSp mod">
        <pc:chgData name="Mascha Theiler" userId="a0f496a5-efc4-4b52-959d-5e95987cae8c" providerId="ADAL" clId="{46BE184E-840E-48D3-B624-C448522A216F}" dt="2026-02-05T15:00:20.330" v="1580"/>
        <pc:sldMkLst>
          <pc:docMk/>
          <pc:sldMk cId="2799271204" sldId="141169076"/>
        </pc:sldMkLst>
        <pc:spChg chg="mod">
          <ac:chgData name="Mascha Theiler" userId="a0f496a5-efc4-4b52-959d-5e95987cae8c" providerId="ADAL" clId="{46BE184E-840E-48D3-B624-C448522A216F}" dt="2026-02-05T15:00:20.330" v="1580"/>
          <ac:spMkLst>
            <pc:docMk/>
            <pc:sldMk cId="2799271204" sldId="141169076"/>
            <ac:spMk id="2" creationId="{ED302541-1BF2-6138-7F45-CEC5F359610D}"/>
          </ac:spMkLst>
        </pc:spChg>
        <pc:spChg chg="mod">
          <ac:chgData name="Mascha Theiler" userId="a0f496a5-efc4-4b52-959d-5e95987cae8c" providerId="ADAL" clId="{46BE184E-840E-48D3-B624-C448522A216F}" dt="2026-02-05T15:00:04.294" v="1567"/>
          <ac:spMkLst>
            <pc:docMk/>
            <pc:sldMk cId="2799271204" sldId="141169076"/>
            <ac:spMk id="5" creationId="{6F0F2577-45FF-5E32-91D1-F158E6E7A13F}"/>
          </ac:spMkLst>
        </pc:spChg>
        <pc:spChg chg="mod">
          <ac:chgData name="Mascha Theiler" userId="a0f496a5-efc4-4b52-959d-5e95987cae8c" providerId="ADAL" clId="{46BE184E-840E-48D3-B624-C448522A216F}" dt="2026-02-05T14:59:45.109" v="1566" actId="20577"/>
          <ac:spMkLst>
            <pc:docMk/>
            <pc:sldMk cId="2799271204" sldId="141169076"/>
            <ac:spMk id="6" creationId="{0531ED63-00CB-F5C7-F61B-8A5952750183}"/>
          </ac:spMkLst>
        </pc:spChg>
        <pc:spChg chg="mod">
          <ac:chgData name="Mascha Theiler" userId="a0f496a5-efc4-4b52-959d-5e95987cae8c" providerId="ADAL" clId="{46BE184E-840E-48D3-B624-C448522A216F}" dt="2026-02-05T14:51:19.910" v="1327" actId="20577"/>
          <ac:spMkLst>
            <pc:docMk/>
            <pc:sldMk cId="2799271204" sldId="141169076"/>
            <ac:spMk id="8" creationId="{5D193D0F-0BBC-DDCF-7775-EB4A06C4CBB5}"/>
          </ac:spMkLst>
        </pc:spChg>
      </pc:sldChg>
      <pc:sldChg chg="modSp mod">
        <pc:chgData name="Mascha Theiler" userId="a0f496a5-efc4-4b52-959d-5e95987cae8c" providerId="ADAL" clId="{46BE184E-840E-48D3-B624-C448522A216F}" dt="2026-02-05T15:00:15.400" v="1579" actId="20577"/>
        <pc:sldMkLst>
          <pc:docMk/>
          <pc:sldMk cId="701027262" sldId="141169077"/>
        </pc:sldMkLst>
        <pc:spChg chg="mod">
          <ac:chgData name="Mascha Theiler" userId="a0f496a5-efc4-4b52-959d-5e95987cae8c" providerId="ADAL" clId="{46BE184E-840E-48D3-B624-C448522A216F}" dt="2026-02-05T15:00:15.400" v="1579" actId="20577"/>
          <ac:spMkLst>
            <pc:docMk/>
            <pc:sldMk cId="701027262" sldId="141169077"/>
            <ac:spMk id="2" creationId="{BF79260D-34D6-17CF-0E4F-308C166F6B8B}"/>
          </ac:spMkLst>
        </pc:spChg>
        <pc:spChg chg="mod">
          <ac:chgData name="Mascha Theiler" userId="a0f496a5-efc4-4b52-959d-5e95987cae8c" providerId="ADAL" clId="{46BE184E-840E-48D3-B624-C448522A216F}" dt="2026-02-05T14:59:37.778" v="1556"/>
          <ac:spMkLst>
            <pc:docMk/>
            <pc:sldMk cId="701027262" sldId="141169077"/>
            <ac:spMk id="5" creationId="{24D463AC-0399-2B09-F4D8-AE77F370F2D0}"/>
          </ac:spMkLst>
        </pc:spChg>
        <pc:spChg chg="mod">
          <ac:chgData name="Mascha Theiler" userId="a0f496a5-efc4-4b52-959d-5e95987cae8c" providerId="ADAL" clId="{46BE184E-840E-48D3-B624-C448522A216F}" dt="2026-02-05T14:59:18.629" v="1555" actId="20577"/>
          <ac:spMkLst>
            <pc:docMk/>
            <pc:sldMk cId="701027262" sldId="141169077"/>
            <ac:spMk id="6" creationId="{8E327AED-3F64-8831-CD9E-EE941F2ABC76}"/>
          </ac:spMkLst>
        </pc:spChg>
        <pc:spChg chg="mod">
          <ac:chgData name="Mascha Theiler" userId="a0f496a5-efc4-4b52-959d-5e95987cae8c" providerId="ADAL" clId="{46BE184E-840E-48D3-B624-C448522A216F}" dt="2026-02-05T14:51:26.648" v="1346" actId="20577"/>
          <ac:spMkLst>
            <pc:docMk/>
            <pc:sldMk cId="701027262" sldId="141169077"/>
            <ac:spMk id="8" creationId="{2AC7280B-3CEF-DB2F-3D9F-118E088F46C5}"/>
          </ac:spMkLst>
        </pc:spChg>
      </pc:sldChg>
      <pc:sldChg chg="modSp mod">
        <pc:chgData name="Mascha Theiler" userId="a0f496a5-efc4-4b52-959d-5e95987cae8c" providerId="ADAL" clId="{46BE184E-840E-48D3-B624-C448522A216F}" dt="2026-02-05T14:53:22.233" v="1413" actId="5793"/>
        <pc:sldMkLst>
          <pc:docMk/>
          <pc:sldMk cId="1516666071" sldId="141169078"/>
        </pc:sldMkLst>
        <pc:spChg chg="mod">
          <ac:chgData name="Mascha Theiler" userId="a0f496a5-efc4-4b52-959d-5e95987cae8c" providerId="ADAL" clId="{46BE184E-840E-48D3-B624-C448522A216F}" dt="2026-02-05T14:52:58.043" v="1410" actId="20577"/>
          <ac:spMkLst>
            <pc:docMk/>
            <pc:sldMk cId="1516666071" sldId="141169078"/>
            <ac:spMk id="2" creationId="{5A628AA6-9FDC-D547-326E-91AAC4887950}"/>
          </ac:spMkLst>
        </pc:spChg>
        <pc:spChg chg="mod">
          <ac:chgData name="Mascha Theiler" userId="a0f496a5-efc4-4b52-959d-5e95987cae8c" providerId="ADAL" clId="{46BE184E-840E-48D3-B624-C448522A216F}" dt="2026-02-05T14:53:22.233" v="1413" actId="5793"/>
          <ac:spMkLst>
            <pc:docMk/>
            <pc:sldMk cId="1516666071" sldId="141169078"/>
            <ac:spMk id="3" creationId="{567D3797-356A-A0DD-3742-EC39015BB74F}"/>
          </ac:spMkLst>
        </pc:spChg>
        <pc:spChg chg="mod">
          <ac:chgData name="Mascha Theiler" userId="a0f496a5-efc4-4b52-959d-5e95987cae8c" providerId="ADAL" clId="{46BE184E-840E-48D3-B624-C448522A216F}" dt="2026-02-05T14:51:32.536" v="1365" actId="20577"/>
          <ac:spMkLst>
            <pc:docMk/>
            <pc:sldMk cId="1516666071" sldId="141169078"/>
            <ac:spMk id="5" creationId="{2F748D88-3FE4-25A7-1F48-3A9BAEF72EB2}"/>
          </ac:spMkLst>
        </pc:spChg>
      </pc:sldChg>
      <pc:sldChg chg="modSp mod">
        <pc:chgData name="Mascha Theiler" userId="a0f496a5-efc4-4b52-959d-5e95987cae8c" providerId="ADAL" clId="{46BE184E-840E-48D3-B624-C448522A216F}" dt="2026-02-05T14:52:32.571" v="1404" actId="113"/>
        <pc:sldMkLst>
          <pc:docMk/>
          <pc:sldMk cId="1075584816" sldId="141169079"/>
        </pc:sldMkLst>
        <pc:spChg chg="mod">
          <ac:chgData name="Mascha Theiler" userId="a0f496a5-efc4-4b52-959d-5e95987cae8c" providerId="ADAL" clId="{46BE184E-840E-48D3-B624-C448522A216F}" dt="2026-02-05T14:52:32.571" v="1404" actId="113"/>
          <ac:spMkLst>
            <pc:docMk/>
            <pc:sldMk cId="1075584816" sldId="141169079"/>
            <ac:spMk id="2" creationId="{2B38AE44-BB5C-8207-00E6-30E1C1E157FF}"/>
          </ac:spMkLst>
        </pc:spChg>
        <pc:spChg chg="mod">
          <ac:chgData name="Mascha Theiler" userId="a0f496a5-efc4-4b52-959d-5e95987cae8c" providerId="ADAL" clId="{46BE184E-840E-48D3-B624-C448522A216F}" dt="2026-02-05T14:52:16.491" v="1397" actId="5793"/>
          <ac:spMkLst>
            <pc:docMk/>
            <pc:sldMk cId="1075584816" sldId="141169079"/>
            <ac:spMk id="3" creationId="{34D052D2-42F9-F063-CA91-F9280C6D21F7}"/>
          </ac:spMkLst>
        </pc:spChg>
        <pc:spChg chg="mod">
          <ac:chgData name="Mascha Theiler" userId="a0f496a5-efc4-4b52-959d-5e95987cae8c" providerId="ADAL" clId="{46BE184E-840E-48D3-B624-C448522A216F}" dt="2026-02-05T14:51:40.268" v="1394" actId="20577"/>
          <ac:spMkLst>
            <pc:docMk/>
            <pc:sldMk cId="1075584816" sldId="141169079"/>
            <ac:spMk id="5" creationId="{7D58188E-A2A4-E113-5E6A-C67A6F97B452}"/>
          </ac:spMkLst>
        </pc:spChg>
      </pc:sldChg>
      <pc:sldChg chg="modSp mod">
        <pc:chgData name="Mascha Theiler" userId="a0f496a5-efc4-4b52-959d-5e95987cae8c" providerId="ADAL" clId="{46BE184E-840E-48D3-B624-C448522A216F}" dt="2026-02-05T14:54:26.462" v="1445" actId="11"/>
        <pc:sldMkLst>
          <pc:docMk/>
          <pc:sldMk cId="2019394975" sldId="141169080"/>
        </pc:sldMkLst>
        <pc:spChg chg="mod">
          <ac:chgData name="Mascha Theiler" userId="a0f496a5-efc4-4b52-959d-5e95987cae8c" providerId="ADAL" clId="{46BE184E-840E-48D3-B624-C448522A216F}" dt="2026-02-05T14:53:41.703" v="1421" actId="20577"/>
          <ac:spMkLst>
            <pc:docMk/>
            <pc:sldMk cId="2019394975" sldId="141169080"/>
            <ac:spMk id="2" creationId="{0321965E-D2F1-324F-356D-EC7B61E69936}"/>
          </ac:spMkLst>
        </pc:spChg>
        <pc:spChg chg="mod">
          <ac:chgData name="Mascha Theiler" userId="a0f496a5-efc4-4b52-959d-5e95987cae8c" providerId="ADAL" clId="{46BE184E-840E-48D3-B624-C448522A216F}" dt="2026-02-05T14:54:26.462" v="1445" actId="11"/>
          <ac:spMkLst>
            <pc:docMk/>
            <pc:sldMk cId="2019394975" sldId="141169080"/>
            <ac:spMk id="3" creationId="{7E650F50-8C65-A782-33B8-F4701BC13EEA}"/>
          </ac:spMkLst>
        </pc:spChg>
        <pc:spChg chg="mod">
          <ac:chgData name="Mascha Theiler" userId="a0f496a5-efc4-4b52-959d-5e95987cae8c" providerId="ADAL" clId="{46BE184E-840E-48D3-B624-C448522A216F}" dt="2026-02-05T14:53:50.231" v="1441" actId="20577"/>
          <ac:spMkLst>
            <pc:docMk/>
            <pc:sldMk cId="2019394975" sldId="141169080"/>
            <ac:spMk id="5" creationId="{CA2D7DA2-C806-2170-747C-BA71AFB7D549}"/>
          </ac:spMkLst>
        </pc:spChg>
      </pc:sldChg>
      <pc:sldChg chg="modSp new del mod">
        <pc:chgData name="Mascha Theiler" userId="a0f496a5-efc4-4b52-959d-5e95987cae8c" providerId="ADAL" clId="{46BE184E-840E-48D3-B624-C448522A216F}" dt="2026-02-05T13:26:44.566" v="834" actId="47"/>
        <pc:sldMkLst>
          <pc:docMk/>
          <pc:sldMk cId="503929092" sldId="141169081"/>
        </pc:sldMkLst>
        <pc:spChg chg="mod">
          <ac:chgData name="Mascha Theiler" userId="a0f496a5-efc4-4b52-959d-5e95987cae8c" providerId="ADAL" clId="{46BE184E-840E-48D3-B624-C448522A216F}" dt="2026-02-05T13:26:28.130" v="832" actId="113"/>
          <ac:spMkLst>
            <pc:docMk/>
            <pc:sldMk cId="503929092" sldId="141169081"/>
            <ac:spMk id="5" creationId="{289E6565-D6AB-986B-DDBF-1194D8C5CDFD}"/>
          </ac:spMkLst>
        </pc:spChg>
      </pc:sldChg>
      <pc:sldChg chg="delSp modSp new del mod">
        <pc:chgData name="Mascha Theiler" userId="a0f496a5-efc4-4b52-959d-5e95987cae8c" providerId="ADAL" clId="{46BE184E-840E-48D3-B624-C448522A216F}" dt="2026-02-05T13:13:15.876" v="576" actId="47"/>
        <pc:sldMkLst>
          <pc:docMk/>
          <pc:sldMk cId="755563683" sldId="141169081"/>
        </pc:sldMkLst>
        <pc:spChg chg="mod">
          <ac:chgData name="Mascha Theiler" userId="a0f496a5-efc4-4b52-959d-5e95987cae8c" providerId="ADAL" clId="{46BE184E-840E-48D3-B624-C448522A216F}" dt="2026-02-05T13:12:33.139" v="543" actId="113"/>
          <ac:spMkLst>
            <pc:docMk/>
            <pc:sldMk cId="755563683" sldId="141169081"/>
            <ac:spMk id="5" creationId="{F311E67B-00B5-D702-E03F-67B952667C95}"/>
          </ac:spMkLst>
        </pc:spChg>
        <pc:spChg chg="del">
          <ac:chgData name="Mascha Theiler" userId="a0f496a5-efc4-4b52-959d-5e95987cae8c" providerId="ADAL" clId="{46BE184E-840E-48D3-B624-C448522A216F}" dt="2026-02-05T12:57:51.681" v="533" actId="478"/>
          <ac:spMkLst>
            <pc:docMk/>
            <pc:sldMk cId="755563683" sldId="141169081"/>
            <ac:spMk id="7" creationId="{BE61B169-DECF-72B6-21F0-DF69F23D4056}"/>
          </ac:spMkLst>
        </pc:spChg>
      </pc:sldChg>
      <pc:sldChg chg="modSp new del mod">
        <pc:chgData name="Mascha Theiler" userId="a0f496a5-efc4-4b52-959d-5e95987cae8c" providerId="ADAL" clId="{46BE184E-840E-48D3-B624-C448522A216F}" dt="2026-02-05T12:46:39.218" v="325" actId="47"/>
        <pc:sldMkLst>
          <pc:docMk/>
          <pc:sldMk cId="773661384" sldId="141169081"/>
        </pc:sldMkLst>
        <pc:spChg chg="mod">
          <ac:chgData name="Mascha Theiler" userId="a0f496a5-efc4-4b52-959d-5e95987cae8c" providerId="ADAL" clId="{46BE184E-840E-48D3-B624-C448522A216F}" dt="2026-02-05T12:46:27.285" v="323" actId="113"/>
          <ac:spMkLst>
            <pc:docMk/>
            <pc:sldMk cId="773661384" sldId="141169081"/>
            <ac:spMk id="3" creationId="{96375F57-D13F-3AB6-E891-D49C55BDB333}"/>
          </ac:spMkLst>
        </pc:spChg>
      </pc:sldChg>
      <pc:sldChg chg="modSp new del mod">
        <pc:chgData name="Mascha Theiler" userId="a0f496a5-efc4-4b52-959d-5e95987cae8c" providerId="ADAL" clId="{46BE184E-840E-48D3-B624-C448522A216F}" dt="2026-02-05T13:21:41.237" v="684" actId="47"/>
        <pc:sldMkLst>
          <pc:docMk/>
          <pc:sldMk cId="818566717" sldId="141169081"/>
        </pc:sldMkLst>
        <pc:spChg chg="mod">
          <ac:chgData name="Mascha Theiler" userId="a0f496a5-efc4-4b52-959d-5e95987cae8c" providerId="ADAL" clId="{46BE184E-840E-48D3-B624-C448522A216F}" dt="2026-02-05T13:21:24.230" v="678" actId="113"/>
          <ac:spMkLst>
            <pc:docMk/>
            <pc:sldMk cId="818566717" sldId="141169081"/>
            <ac:spMk id="3" creationId="{C8E7A96E-B0AA-1184-3C9F-FB57CD4B39AF}"/>
          </ac:spMkLst>
        </pc:spChg>
      </pc:sldChg>
      <pc:sldChg chg="delSp modSp new del mod">
        <pc:chgData name="Mascha Theiler" userId="a0f496a5-efc4-4b52-959d-5e95987cae8c" providerId="ADAL" clId="{46BE184E-840E-48D3-B624-C448522A216F}" dt="2026-02-05T13:24:44.225" v="818" actId="47"/>
        <pc:sldMkLst>
          <pc:docMk/>
          <pc:sldMk cId="1641367079" sldId="141169081"/>
        </pc:sldMkLst>
        <pc:spChg chg="del">
          <ac:chgData name="Mascha Theiler" userId="a0f496a5-efc4-4b52-959d-5e95987cae8c" providerId="ADAL" clId="{46BE184E-840E-48D3-B624-C448522A216F}" dt="2026-02-05T13:23:50.594" v="810" actId="478"/>
          <ac:spMkLst>
            <pc:docMk/>
            <pc:sldMk cId="1641367079" sldId="141169081"/>
            <ac:spMk id="4" creationId="{CDCBFB03-2A9E-D4C9-1CC8-30C408667493}"/>
          </ac:spMkLst>
        </pc:spChg>
        <pc:spChg chg="mod">
          <ac:chgData name="Mascha Theiler" userId="a0f496a5-efc4-4b52-959d-5e95987cae8c" providerId="ADAL" clId="{46BE184E-840E-48D3-B624-C448522A216F}" dt="2026-02-05T13:24:17.388" v="814" actId="113"/>
          <ac:spMkLst>
            <pc:docMk/>
            <pc:sldMk cId="1641367079" sldId="141169081"/>
            <ac:spMk id="6" creationId="{8BF3DAC3-A0C2-5A7A-7FBB-F74CD976C5D0}"/>
          </ac:spMkLst>
        </pc:spChg>
      </pc:sldChg>
      <pc:sldChg chg="modSp new del mod">
        <pc:chgData name="Mascha Theiler" userId="a0f496a5-efc4-4b52-959d-5e95987cae8c" providerId="ADAL" clId="{46BE184E-840E-48D3-B624-C448522A216F}" dt="2026-02-05T12:42:49.870" v="290" actId="47"/>
        <pc:sldMkLst>
          <pc:docMk/>
          <pc:sldMk cId="2106756984" sldId="141169081"/>
        </pc:sldMkLst>
        <pc:spChg chg="mod">
          <ac:chgData name="Mascha Theiler" userId="a0f496a5-efc4-4b52-959d-5e95987cae8c" providerId="ADAL" clId="{46BE184E-840E-48D3-B624-C448522A216F}" dt="2026-02-05T12:42:40.623" v="288" actId="113"/>
          <ac:spMkLst>
            <pc:docMk/>
            <pc:sldMk cId="2106756984" sldId="141169081"/>
            <ac:spMk id="3" creationId="{D3B3C6D3-39B9-93D5-A84C-3D04B99D5FE3}"/>
          </ac:spMkLst>
        </pc:spChg>
      </pc:sldChg>
      <pc:sldChg chg="modSp new del mod">
        <pc:chgData name="Mascha Theiler" userId="a0f496a5-efc4-4b52-959d-5e95987cae8c" providerId="ADAL" clId="{46BE184E-840E-48D3-B624-C448522A216F}" dt="2026-02-05T13:19:33.026" v="650" actId="47"/>
        <pc:sldMkLst>
          <pc:docMk/>
          <pc:sldMk cId="3415863657" sldId="141169081"/>
        </pc:sldMkLst>
        <pc:spChg chg="mod">
          <ac:chgData name="Mascha Theiler" userId="a0f496a5-efc4-4b52-959d-5e95987cae8c" providerId="ADAL" clId="{46BE184E-840E-48D3-B624-C448522A216F}" dt="2026-02-05T13:19:11.689" v="646" actId="108"/>
          <ac:spMkLst>
            <pc:docMk/>
            <pc:sldMk cId="3415863657" sldId="141169081"/>
            <ac:spMk id="3" creationId="{A0733BD3-8F68-01BB-638F-A8854B13AD25}"/>
          </ac:spMkLst>
        </pc:spChg>
      </pc:sldChg>
      <pc:sldChg chg="modSp new del mod">
        <pc:chgData name="Mascha Theiler" userId="a0f496a5-efc4-4b52-959d-5e95987cae8c" providerId="ADAL" clId="{46BE184E-840E-48D3-B624-C448522A216F}" dt="2026-02-05T13:58:49.636" v="954" actId="47"/>
        <pc:sldMkLst>
          <pc:docMk/>
          <pc:sldMk cId="3423930722" sldId="141169081"/>
        </pc:sldMkLst>
        <pc:spChg chg="mod">
          <ac:chgData name="Mascha Theiler" userId="a0f496a5-efc4-4b52-959d-5e95987cae8c" providerId="ADAL" clId="{46BE184E-840E-48D3-B624-C448522A216F}" dt="2026-02-05T13:58:31.521" v="950" actId="20577"/>
          <ac:spMkLst>
            <pc:docMk/>
            <pc:sldMk cId="3423930722" sldId="141169081"/>
            <ac:spMk id="3" creationId="{3B08D7C7-A520-B9A6-355B-8F00CFCA8C1E}"/>
          </ac:spMkLst>
        </pc:spChg>
      </pc:sldChg>
      <pc:sldChg chg="modSp new del mod">
        <pc:chgData name="Mascha Theiler" userId="a0f496a5-efc4-4b52-959d-5e95987cae8c" providerId="ADAL" clId="{46BE184E-840E-48D3-B624-C448522A216F}" dt="2026-02-05T13:42:39.044" v="928" actId="47"/>
        <pc:sldMkLst>
          <pc:docMk/>
          <pc:sldMk cId="3471413099" sldId="141169081"/>
        </pc:sldMkLst>
        <pc:spChg chg="mod">
          <ac:chgData name="Mascha Theiler" userId="a0f496a5-efc4-4b52-959d-5e95987cae8c" providerId="ADAL" clId="{46BE184E-840E-48D3-B624-C448522A216F}" dt="2026-02-05T13:42:29.008" v="926" actId="108"/>
          <ac:spMkLst>
            <pc:docMk/>
            <pc:sldMk cId="3471413099" sldId="141169081"/>
            <ac:spMk id="3" creationId="{1E892BBD-4A3A-CD6B-2372-ADE7575928DE}"/>
          </ac:spMkLst>
        </pc:spChg>
      </pc:sldChg>
      <pc:sldChg chg="modSp new del mod">
        <pc:chgData name="Mascha Theiler" userId="a0f496a5-efc4-4b52-959d-5e95987cae8c" providerId="ADAL" clId="{46BE184E-840E-48D3-B624-C448522A216F}" dt="2026-02-05T14:28:03.640" v="1050" actId="47"/>
        <pc:sldMkLst>
          <pc:docMk/>
          <pc:sldMk cId="3477701820" sldId="141169081"/>
        </pc:sldMkLst>
        <pc:spChg chg="mod">
          <ac:chgData name="Mascha Theiler" userId="a0f496a5-efc4-4b52-959d-5e95987cae8c" providerId="ADAL" clId="{46BE184E-840E-48D3-B624-C448522A216F}" dt="2026-02-05T14:27:41.880" v="1048" actId="108"/>
          <ac:spMkLst>
            <pc:docMk/>
            <pc:sldMk cId="3477701820" sldId="141169081"/>
            <ac:spMk id="3" creationId="{1D3ACA43-334E-5CF2-4FDC-25051D56FB0A}"/>
          </ac:spMkLst>
        </pc:spChg>
      </pc:sldChg>
      <pc:sldChg chg="delSp modSp new add del mod">
        <pc:chgData name="Mascha Theiler" userId="a0f496a5-efc4-4b52-959d-5e95987cae8c" providerId="ADAL" clId="{46BE184E-840E-48D3-B624-C448522A216F}" dt="2026-02-05T14:50:19.620" v="1213" actId="47"/>
        <pc:sldMkLst>
          <pc:docMk/>
          <pc:sldMk cId="4136365449" sldId="141169081"/>
        </pc:sldMkLst>
        <pc:spChg chg="mod">
          <ac:chgData name="Mascha Theiler" userId="a0f496a5-efc4-4b52-959d-5e95987cae8c" providerId="ADAL" clId="{46BE184E-840E-48D3-B624-C448522A216F}" dt="2026-02-05T14:49:55.608" v="1207" actId="113"/>
          <ac:spMkLst>
            <pc:docMk/>
            <pc:sldMk cId="4136365449" sldId="141169081"/>
            <ac:spMk id="5" creationId="{FF85BE9D-4A7F-966B-9AD7-6CBE7272D027}"/>
          </ac:spMkLst>
        </pc:spChg>
        <pc:spChg chg="del">
          <ac:chgData name="Mascha Theiler" userId="a0f496a5-efc4-4b52-959d-5e95987cae8c" providerId="ADAL" clId="{46BE184E-840E-48D3-B624-C448522A216F}" dt="2026-02-05T14:47:42.455" v="1194" actId="478"/>
          <ac:spMkLst>
            <pc:docMk/>
            <pc:sldMk cId="4136365449" sldId="141169081"/>
            <ac:spMk id="9" creationId="{DDF7B31F-944C-4621-2017-A9D79A04F1C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5.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5.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4E11B0-EDAD-3DF2-95BE-EF1D1F79300E}"/>
              </a:ext>
            </a:extLst>
          </p:cNvPr>
          <p:cNvGraphicFramePr>
            <a:graphicFrameLocks noChangeAspect="1"/>
          </p:cNvGraphicFramePr>
          <p:nvPr userDrawn="1">
            <p:custDataLst>
              <p:tags r:id="rId30"/>
            </p:custDataLst>
            <p:extLst>
              <p:ext uri="{D42A27DB-BD31-4B8C-83A1-F6EECF244321}">
                <p14:modId xmlns:p14="http://schemas.microsoft.com/office/powerpoint/2010/main" val="4197645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514E11B0-EDAD-3DF2-95BE-EF1D1F79300E}"/>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hyperlink" Target="https://www.youtube.com/watch?v=h0gq5R33GzY" TargetMode="External"/><Relationship Id="rId3" Type="http://schemas.openxmlformats.org/officeDocument/2006/relationships/oleObject" Target="../embeddings/oleObject4.bin"/><Relationship Id="rId7" Type="http://schemas.openxmlformats.org/officeDocument/2006/relationships/hyperlink" Target="https://www.nature.com/articles/s41467-018-03308-7"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sfp.ethz.ch/research/multi-indicator-sustainability-assessment.html" TargetMode="External"/><Relationship Id="rId5" Type="http://schemas.openxmlformats.org/officeDocument/2006/relationships/hyperlink" Target="https://nfp73.ch/en/projects/impacts-of-swiss-food-consumption-and-trade" TargetMode="External"/><Relationship Id="rId4" Type="http://schemas.openxmlformats.org/officeDocument/2006/relationships/image" Target="../media/image2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27.jpg"/><Relationship Id="rId4" Type="http://schemas.openxmlformats.org/officeDocument/2006/relationships/image" Target="../media/image26.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tags" Target="../tags/tag6.xml"/><Relationship Id="rId5" Type="http://schemas.openxmlformats.org/officeDocument/2006/relationships/image" Target="../media/image29.jpg"/><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3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hyperlink" Target="https://www.sge-ssn.ch/" TargetMode="External"/><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hyperlink" Target="https://sfp.ethz.ch/research/multi-indicator-sustainability-assessment.html" TargetMode="External"/><Relationship Id="rId5" Type="http://schemas.openxmlformats.org/officeDocument/2006/relationships/image" Target="../media/image33.png"/><Relationship Id="rId4" Type="http://schemas.openxmlformats.org/officeDocument/2006/relationships/image" Target="../media/image32.emf"/></Relationships>
</file>

<file path=ppt/slides/_rels/slide1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en.wikipedia.org/wiki/Environmental_Performance_Index" TargetMode="External"/><Relationship Id="rId2" Type="http://schemas.openxmlformats.org/officeDocument/2006/relationships/hyperlink" Target="https://nfp73.ch/en/projects/interaction-of-economy-and-ecology-in-swiss-farms"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tags" Target="../tags/tag11.xml"/><Relationship Id="rId4" Type="http://schemas.openxmlformats.org/officeDocument/2006/relationships/image" Target="../media/image3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3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7.emf"/></Relationships>
</file>

<file path=ppt/slides/_rels/slide2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nfp73.ch/download/73/230330_SNF_NFP73_PB_Finger_EN.pdf?inline=true" TargetMode="External"/><Relationship Id="rId2" Type="http://schemas.openxmlformats.org/officeDocument/2006/relationships/hyperlink" Target="https://nfp73.ch/en/projects/digital-innovations-for-sustainable-agriculture" TargetMode="External"/><Relationship Id="rId1" Type="http://schemas.openxmlformats.org/officeDocument/2006/relationships/slideLayout" Target="../slideLayouts/slideLayout4.xml"/><Relationship Id="rId5" Type="http://schemas.openxmlformats.org/officeDocument/2006/relationships/hyperlink" Target="https://www.youtube.com/watch?v=BOYXxtQuje4" TargetMode="External"/><Relationship Id="rId4" Type="http://schemas.openxmlformats.org/officeDocument/2006/relationships/hyperlink" Target="https://www.youtube.com/watch?v=7jgWZErdH24" TargetMode="Externa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39.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6.xml"/><Relationship Id="rId4" Type="http://schemas.openxmlformats.org/officeDocument/2006/relationships/image" Target="../media/image39.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4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40.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40.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xiASPp7K4Z4" TargetMode="External"/><Relationship Id="rId2" Type="http://schemas.openxmlformats.org/officeDocument/2006/relationships/hyperlink" Target="https://nfp73.ch/en/topics/agriculture-and-nutrition"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22.jp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vegetables on a white surface&#10;&#10;AI-generated content may be incorrect.">
            <a:extLst>
              <a:ext uri="{FF2B5EF4-FFF2-40B4-BE49-F238E27FC236}">
                <a16:creationId xmlns:a16="http://schemas.microsoft.com/office/drawing/2014/main" id="{B06F363F-CBF5-60A0-6233-C3963A588F13}"/>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br>
              <a:rPr lang="de-CH" dirty="0"/>
            </a:br>
            <a:r>
              <a:rPr lang="de-CH" dirty="0"/>
              <a:t>Agriculture and Nutrition</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2" name="Picture 1">
            <a:extLst>
              <a:ext uri="{FF2B5EF4-FFF2-40B4-BE49-F238E27FC236}">
                <a16:creationId xmlns:a16="http://schemas.microsoft.com/office/drawing/2014/main" id="{EC089521-3FB1-B46A-94CB-CCED4F71384F}"/>
              </a:ext>
            </a:extLst>
          </p:cNvPr>
          <p:cNvPicPr>
            <a:picLocks noChangeAspect="1"/>
          </p:cNvPicPr>
          <p:nvPr/>
        </p:nvPicPr>
        <p:blipFill>
          <a:blip r:embed="rId3"/>
          <a:stretch>
            <a:fillRect/>
          </a:stretch>
        </p:blipFill>
        <p:spPr>
          <a:xfrm>
            <a:off x="471637" y="5894560"/>
            <a:ext cx="2839454" cy="854098"/>
          </a:xfrm>
          <a:prstGeom prst="rect">
            <a:avLst/>
          </a:prstGeom>
        </p:spPr>
      </p:pic>
      <p:pic>
        <p:nvPicPr>
          <p:cNvPr id="4" name="Picture 2" descr="Green Hospital - Nationales Forschungsprogramm 73">
            <a:extLst>
              <a:ext uri="{FF2B5EF4-FFF2-40B4-BE49-F238E27FC236}">
                <a16:creationId xmlns:a16="http://schemas.microsoft.com/office/drawing/2014/main" id="{92BBA167-8DFE-9BA0-DAF7-A4902466CD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en-US" dirty="0"/>
              <a:t>Impacts of Swiss food consumption and trade</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5701567" cy="4213225"/>
          </a:xfrm>
        </p:spPr>
        <p:txBody>
          <a:bodyPr/>
          <a:lstStyle/>
          <a:p>
            <a:pPr marL="0" indent="0">
              <a:buNone/>
            </a:pPr>
            <a:r>
              <a:rPr lang="de-CH" dirty="0"/>
              <a:t>«</a:t>
            </a:r>
            <a:r>
              <a:rPr lang="en-US" dirty="0"/>
              <a:t>Given </a:t>
            </a:r>
            <a:r>
              <a:rPr lang="en-US" b="1" dirty="0"/>
              <a:t>limited resources </a:t>
            </a:r>
            <a:r>
              <a:rPr lang="en-US" dirty="0"/>
              <a:t>and a </a:t>
            </a:r>
            <a:r>
              <a:rPr lang="en-US" b="1" dirty="0"/>
              <a:t>growing world population</a:t>
            </a:r>
            <a:r>
              <a:rPr lang="en-US" dirty="0"/>
              <a:t>, more sustainable dietary patterns and a </a:t>
            </a:r>
            <a:r>
              <a:rPr lang="en-US" b="1" dirty="0"/>
              <a:t>reduction</a:t>
            </a:r>
            <a:r>
              <a:rPr lang="en-US" dirty="0"/>
              <a:t> </a:t>
            </a:r>
            <a:r>
              <a:rPr lang="en-US" b="1" dirty="0"/>
              <a:t>in food waste </a:t>
            </a:r>
            <a:r>
              <a:rPr lang="en-US" dirty="0"/>
              <a:t>are needed. Global and national efforts to </a:t>
            </a:r>
            <a:r>
              <a:rPr lang="en-US" b="1" dirty="0"/>
              <a:t>optimize food systems </a:t>
            </a:r>
            <a:r>
              <a:rPr lang="en-US" dirty="0"/>
              <a:t>can make a significant contribution to achieving the Sustainable Development Goals of the </a:t>
            </a:r>
            <a:r>
              <a:rPr lang="en-US" b="1" dirty="0"/>
              <a:t>2030 Agenda</a:t>
            </a:r>
            <a:r>
              <a:rPr lang="en-US" dirty="0"/>
              <a:t>.</a:t>
            </a:r>
            <a:r>
              <a:rPr lang="de-CH" dirty="0"/>
              <a:t>»</a:t>
            </a:r>
          </a:p>
          <a:p>
            <a:pPr marL="0" indent="0">
              <a:buNone/>
            </a:pPr>
            <a:endParaRPr lang="de-CH" dirty="0"/>
          </a:p>
          <a:p>
            <a:pPr marL="0" indent="0" algn="r">
              <a:buNone/>
            </a:pPr>
            <a:r>
              <a:rPr lang="de-DE" dirty="0"/>
              <a:t>Prof. Dr.-Ing. Alexander Mathys, Project </a:t>
            </a:r>
            <a:r>
              <a:rPr lang="de-DE" dirty="0" err="1"/>
              <a:t>lead</a:t>
            </a:r>
            <a:r>
              <a:rPr lang="de-DE" dirty="0"/>
              <a:t>, </a:t>
            </a:r>
            <a:r>
              <a:rPr lang="en-US" dirty="0"/>
              <a:t>Impacts of Swiss food consumption and trade</a:t>
            </a:r>
          </a:p>
          <a:p>
            <a:pPr marL="0" indent="0" algn="r">
              <a:buNone/>
            </a:pPr>
            <a:br>
              <a:rPr lang="de-DE" dirty="0"/>
            </a:br>
            <a:endParaRPr lang="de-DE" dirty="0"/>
          </a:p>
          <a:p>
            <a:pPr marL="0" indent="0" algn="r">
              <a:buNone/>
            </a:pPr>
            <a:endParaRPr lang="de-DE"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person holding a box of vegetables&#10;&#10;AI-generated content may be incorrect.">
            <a:extLst>
              <a:ext uri="{FF2B5EF4-FFF2-40B4-BE49-F238E27FC236}">
                <a16:creationId xmlns:a16="http://schemas.microsoft.com/office/drawing/2014/main" id="{136DDBB6-8577-5C9E-CAB6-FBDDAC0849CD}"/>
              </a:ext>
            </a:extLst>
          </p:cNvPr>
          <p:cNvPicPr>
            <a:picLocks noChangeAspect="1"/>
          </p:cNvPicPr>
          <p:nvPr/>
        </p:nvPicPr>
        <p:blipFill>
          <a:blip r:embed="rId2">
            <a:extLst>
              <a:ext uri="{28A0092B-C50C-407E-A947-70E740481C1C}">
                <a14:useLocalDpi xmlns:a14="http://schemas.microsoft.com/office/drawing/2010/main" val="0"/>
              </a:ext>
            </a:extLst>
          </a:blip>
          <a:srcRect l="8260"/>
          <a:stretch>
            <a:fillRect/>
          </a:stretch>
        </p:blipFill>
        <p:spPr>
          <a:xfrm>
            <a:off x="6330462" y="1624117"/>
            <a:ext cx="5861538" cy="4257365"/>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5423BB-5355-8EDE-1725-FD29CAC12A1B}"/>
              </a:ext>
            </a:extLst>
          </p:cNvPr>
          <p:cNvGraphicFramePr>
            <a:graphicFrameLocks noChangeAspect="1"/>
          </p:cNvGraphicFramePr>
          <p:nvPr>
            <p:custDataLst>
              <p:tags r:id="rId1"/>
            </p:custDataLst>
            <p:extLst>
              <p:ext uri="{D42A27DB-BD31-4B8C-83A1-F6EECF244321}">
                <p14:modId xmlns:p14="http://schemas.microsoft.com/office/powerpoint/2010/main" val="4098271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85423BB-5355-8EDE-1725-FD29CAC12A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AEDD10-FFA0-DA57-5119-8A6061617419}"/>
              </a:ext>
            </a:extLst>
          </p:cNvPr>
          <p:cNvSpPr>
            <a:spLocks noGrp="1"/>
          </p:cNvSpPr>
          <p:nvPr>
            <p:ph type="title"/>
          </p:nvPr>
        </p:nvSpPr>
        <p:spPr/>
        <p:txBody>
          <a:bodyPr vert="horz"/>
          <a:lstStyle/>
          <a:p>
            <a:r>
              <a:rPr lang="en-US" dirty="0"/>
              <a:t>Impacts of Swiss food consumption and trade</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6F113DC4-8EBF-1DC6-2E2B-F96F41DFD205}"/>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Compare the </a:t>
            </a:r>
            <a:r>
              <a:rPr lang="en-US" b="1" dirty="0"/>
              <a:t>nutrient supply </a:t>
            </a:r>
            <a:r>
              <a:rPr lang="en-US" dirty="0"/>
              <a:t>with </a:t>
            </a:r>
            <a:r>
              <a:rPr lang="en-US" b="1" dirty="0"/>
              <a:t>ecosystem stability </a:t>
            </a:r>
            <a:r>
              <a:rPr lang="en-US" dirty="0"/>
              <a:t>in different countries: What stands out?</a:t>
            </a:r>
          </a:p>
          <a:p>
            <a:pPr marL="457200" indent="-457200">
              <a:lnSpc>
                <a:spcPct val="107000"/>
              </a:lnSpc>
              <a:spcAft>
                <a:spcPts val="400"/>
              </a:spcAft>
              <a:buFont typeface="+mj-lt"/>
              <a:buAutoNum type="arabicPeriod"/>
            </a:pPr>
            <a:r>
              <a:rPr lang="en-US" dirty="0"/>
              <a:t>What positive effects on sustainable development would result if the </a:t>
            </a:r>
            <a:r>
              <a:rPr lang="en-US" b="1" dirty="0"/>
              <a:t>recommendations </a:t>
            </a:r>
            <a:r>
              <a:rPr lang="en-US" dirty="0"/>
              <a:t>of the </a:t>
            </a:r>
            <a:r>
              <a:rPr lang="en-US" b="1" dirty="0"/>
              <a:t>Swiss Society for Nutrition </a:t>
            </a:r>
            <a:r>
              <a:rPr lang="en-US" dirty="0"/>
              <a:t>were followed?</a:t>
            </a:r>
          </a:p>
          <a:p>
            <a:pPr marL="457200" indent="-457200">
              <a:lnSpc>
                <a:spcPct val="107000"/>
              </a:lnSpc>
              <a:spcAft>
                <a:spcPts val="400"/>
              </a:spcAft>
              <a:buFont typeface="+mj-lt"/>
              <a:buAutoNum type="arabicPeriod"/>
            </a:pPr>
            <a:r>
              <a:rPr lang="en-US" dirty="0"/>
              <a:t>How much </a:t>
            </a:r>
            <a:r>
              <a:rPr lang="en-US" b="1" dirty="0"/>
              <a:t>food </a:t>
            </a:r>
            <a:r>
              <a:rPr lang="en-US" dirty="0"/>
              <a:t>is </a:t>
            </a:r>
            <a:r>
              <a:rPr lang="en-US" b="1" dirty="0"/>
              <a:t>thrown away per person each year </a:t>
            </a:r>
            <a:r>
              <a:rPr lang="en-US" dirty="0"/>
              <a:t>on average worldwide? What positive effects would a </a:t>
            </a:r>
            <a:r>
              <a:rPr lang="en-US" b="1" dirty="0"/>
              <a:t>reduction in food waste</a:t>
            </a:r>
            <a:r>
              <a:rPr lang="en-US" dirty="0"/>
              <a:t> have?</a:t>
            </a:r>
          </a:p>
          <a:p>
            <a:pPr marL="457200" indent="-457200">
              <a:lnSpc>
                <a:spcPct val="107000"/>
              </a:lnSpc>
              <a:spcAft>
                <a:spcPts val="400"/>
              </a:spcAft>
              <a:buFont typeface="+mj-lt"/>
              <a:buAutoNum type="arabicPeriod"/>
            </a:pPr>
            <a:endParaRPr lang="de-CH" sz="1800" dirty="0"/>
          </a:p>
          <a:p>
            <a:pPr marL="0" indent="0">
              <a:lnSpc>
                <a:spcPct val="107000"/>
              </a:lnSpc>
              <a:spcAft>
                <a:spcPts val="400"/>
              </a:spcAft>
              <a:buNone/>
            </a:pPr>
            <a:endParaRPr lang="de-CH" dirty="0"/>
          </a:p>
          <a:p>
            <a:pPr marL="0" indent="0">
              <a:lnSpc>
                <a:spcPct val="107000"/>
              </a:lnSpc>
              <a:spcAft>
                <a:spcPts val="400"/>
              </a:spcAft>
              <a:buNone/>
            </a:pPr>
            <a:endParaRPr lang="de-CH" sz="1800" b="1" dirty="0"/>
          </a:p>
          <a:p>
            <a:pPr marL="0" indent="0">
              <a:lnSpc>
                <a:spcPct val="107000"/>
              </a:lnSpc>
              <a:spcAft>
                <a:spcPts val="400"/>
              </a:spcAft>
              <a:buNone/>
            </a:pPr>
            <a:r>
              <a:rPr lang="de-CH" sz="1600" b="1" dirty="0"/>
              <a:t>Source </a:t>
            </a:r>
            <a:r>
              <a:rPr lang="de-CH" sz="1600" b="1" dirty="0" err="1"/>
              <a:t>of</a:t>
            </a:r>
            <a:r>
              <a:rPr lang="de-CH" sz="1600" b="1" dirty="0"/>
              <a:t> </a:t>
            </a:r>
            <a:r>
              <a:rPr lang="de-CH" sz="1600" b="1" dirty="0" err="1"/>
              <a:t>knowledge</a:t>
            </a:r>
            <a:endParaRPr lang="de-CH" sz="1600" b="1" dirty="0"/>
          </a:p>
          <a:p>
            <a:pPr marL="0" indent="0">
              <a:lnSpc>
                <a:spcPct val="107000"/>
              </a:lnSpc>
              <a:spcAft>
                <a:spcPts val="400"/>
              </a:spcAft>
              <a:buNone/>
            </a:pPr>
            <a:r>
              <a:rPr lang="en-US" sz="1600" dirty="0">
                <a:hlinkClick r:id="rId5"/>
              </a:rPr>
              <a:t>Impacts of Swiss food consumption and trade </a:t>
            </a:r>
            <a:r>
              <a:rPr lang="de-CH" sz="1600" dirty="0"/>
              <a:t>(Website NFP 73)</a:t>
            </a:r>
          </a:p>
          <a:p>
            <a:pPr marL="0" indent="0">
              <a:lnSpc>
                <a:spcPct val="107000"/>
              </a:lnSpc>
              <a:spcAft>
                <a:spcPts val="400"/>
              </a:spcAft>
              <a:buNone/>
            </a:pPr>
            <a:r>
              <a:rPr lang="de-CH" sz="1600" dirty="0">
                <a:hlinkClick r:id="rId6"/>
              </a:rPr>
              <a:t>Multi-</a:t>
            </a:r>
            <a:r>
              <a:rPr lang="de-CH" sz="1600" dirty="0" err="1">
                <a:hlinkClick r:id="rId6"/>
              </a:rPr>
              <a:t>indicator</a:t>
            </a:r>
            <a:r>
              <a:rPr lang="de-CH" sz="1600" dirty="0">
                <a:hlinkClick r:id="rId6"/>
              </a:rPr>
              <a:t> </a:t>
            </a:r>
            <a:r>
              <a:rPr lang="de-CH" sz="1600" dirty="0" err="1">
                <a:hlinkClick r:id="rId6"/>
              </a:rPr>
              <a:t>sustainability</a:t>
            </a:r>
            <a:r>
              <a:rPr lang="de-CH" sz="1600" dirty="0">
                <a:hlinkClick r:id="rId6"/>
              </a:rPr>
              <a:t> </a:t>
            </a:r>
            <a:r>
              <a:rPr lang="de-CH" sz="1600" dirty="0" err="1">
                <a:hlinkClick r:id="rId6"/>
              </a:rPr>
              <a:t>assessment</a:t>
            </a:r>
            <a:r>
              <a:rPr lang="de-CH" sz="1600" dirty="0">
                <a:hlinkClick r:id="rId6"/>
              </a:rPr>
              <a:t> </a:t>
            </a:r>
            <a:r>
              <a:rPr lang="de-CH" sz="1600" dirty="0"/>
              <a:t>(Project </a:t>
            </a:r>
            <a:r>
              <a:rPr lang="de-CH" sz="1600" dirty="0" err="1"/>
              <a:t>website</a:t>
            </a:r>
            <a:r>
              <a:rPr lang="de-CH" sz="1600" dirty="0"/>
              <a:t> ETHZ)</a:t>
            </a:r>
          </a:p>
          <a:p>
            <a:pPr marL="0" indent="0">
              <a:lnSpc>
                <a:spcPct val="107000"/>
              </a:lnSpc>
              <a:spcAft>
                <a:spcPts val="400"/>
              </a:spcAft>
              <a:buNone/>
            </a:pPr>
            <a:r>
              <a:rPr lang="en-US" sz="1600" dirty="0">
                <a:hlinkClick r:id="rId7"/>
              </a:rPr>
              <a:t>Multi-indicator sustainability assessment of global food systems</a:t>
            </a:r>
            <a:r>
              <a:rPr lang="en-US" sz="1600" dirty="0"/>
              <a:t> (Scientific article)</a:t>
            </a:r>
          </a:p>
          <a:p>
            <a:pPr marL="0" indent="0">
              <a:lnSpc>
                <a:spcPct val="107000"/>
              </a:lnSpc>
              <a:spcAft>
                <a:spcPts val="400"/>
              </a:spcAft>
              <a:buNone/>
            </a:pPr>
            <a:r>
              <a:rPr lang="en-US" sz="1600" dirty="0">
                <a:hlinkClick r:id="rId8"/>
              </a:rPr>
              <a:t>Impacts of Swiss food consumption and trade</a:t>
            </a:r>
            <a:r>
              <a:rPr lang="en-US" sz="1600" dirty="0"/>
              <a:t> (Scientific lecture)</a:t>
            </a:r>
          </a:p>
          <a:p>
            <a:endParaRPr lang="de-CH" dirty="0"/>
          </a:p>
        </p:txBody>
      </p:sp>
      <p:sp>
        <p:nvSpPr>
          <p:cNvPr id="4" name="Slide Number Placeholder 3">
            <a:extLst>
              <a:ext uri="{FF2B5EF4-FFF2-40B4-BE49-F238E27FC236}">
                <a16:creationId xmlns:a16="http://schemas.microsoft.com/office/drawing/2014/main" id="{C3617880-648B-A617-CC21-24FDD37DEEAE}"/>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D70553F8-BBA9-859A-5D49-9F1089D74AB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816051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E5106CA-AAA5-9B4D-2D2D-08812EFE3D86}"/>
              </a:ext>
            </a:extLst>
          </p:cNvPr>
          <p:cNvGraphicFramePr>
            <a:graphicFrameLocks noChangeAspect="1"/>
          </p:cNvGraphicFramePr>
          <p:nvPr>
            <p:custDataLst>
              <p:tags r:id="rId1"/>
            </p:custDataLst>
            <p:extLst>
              <p:ext uri="{D42A27DB-BD31-4B8C-83A1-F6EECF244321}">
                <p14:modId xmlns:p14="http://schemas.microsoft.com/office/powerpoint/2010/main" val="1965804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2E5106CA-AAA5-9B4D-2D2D-08812EFE3D8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B308ED-5543-275D-DC3D-8C5D77A38B49}"/>
              </a:ext>
            </a:extLst>
          </p:cNvPr>
          <p:cNvSpPr>
            <a:spLocks noGrp="1"/>
          </p:cNvSpPr>
          <p:nvPr>
            <p:ph type="title"/>
          </p:nvPr>
        </p:nvSpPr>
        <p:spPr/>
        <p:txBody>
          <a:bodyPr vert="horz"/>
          <a:lstStyle/>
          <a:p>
            <a:r>
              <a:rPr lang="en-US" dirty="0"/>
              <a:t>Impacts of Swiss food consumption and trade </a:t>
            </a:r>
            <a:r>
              <a:rPr lang="de-CH" dirty="0"/>
              <a:t>– Background</a:t>
            </a:r>
            <a:endParaRPr lang="de-CH" b="1" dirty="0"/>
          </a:p>
        </p:txBody>
      </p:sp>
      <p:sp>
        <p:nvSpPr>
          <p:cNvPr id="3" name="Slide Number Placeholder 2">
            <a:extLst>
              <a:ext uri="{FF2B5EF4-FFF2-40B4-BE49-F238E27FC236}">
                <a16:creationId xmlns:a16="http://schemas.microsoft.com/office/drawing/2014/main" id="{59E1BCD4-2C5A-F0C6-52B3-35B87F7FC73D}"/>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4" name="Text Placeholder 3">
            <a:extLst>
              <a:ext uri="{FF2B5EF4-FFF2-40B4-BE49-F238E27FC236}">
                <a16:creationId xmlns:a16="http://schemas.microsoft.com/office/drawing/2014/main" id="{2AC33669-ABBA-4287-1B0F-5237EAF799C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14D594E-95A3-1C70-1E04-1D40785F1437}"/>
              </a:ext>
            </a:extLst>
          </p:cNvPr>
          <p:cNvSpPr>
            <a:spLocks noGrp="1"/>
          </p:cNvSpPr>
          <p:nvPr>
            <p:ph type="body" sz="quarter" idx="13"/>
          </p:nvPr>
        </p:nvSpPr>
        <p:spPr/>
        <p:txBody>
          <a:bodyPr/>
          <a:lstStyle/>
          <a:p>
            <a:r>
              <a:rPr lang="en-US" b="1" dirty="0"/>
              <a:t>Global demand for food </a:t>
            </a:r>
            <a:r>
              <a:rPr lang="en-US" dirty="0"/>
              <a:t>is expected to </a:t>
            </a:r>
            <a:r>
              <a:rPr lang="en-US" b="1" dirty="0"/>
              <a:t>increase by about 70% </a:t>
            </a:r>
            <a:r>
              <a:rPr lang="en-US" dirty="0"/>
              <a:t>by </a:t>
            </a:r>
            <a:r>
              <a:rPr lang="en-US" b="1" dirty="0"/>
              <a:t>2050.</a:t>
            </a:r>
            <a:r>
              <a:rPr lang="en-US" dirty="0"/>
              <a:t> Agriculture and food production have the </a:t>
            </a:r>
            <a:r>
              <a:rPr lang="en-US" b="1" dirty="0"/>
              <a:t>greatest impact </a:t>
            </a:r>
            <a:r>
              <a:rPr lang="en-US" dirty="0"/>
              <a:t>on </a:t>
            </a:r>
            <a:r>
              <a:rPr lang="en-US" b="1" dirty="0"/>
              <a:t>resource use </a:t>
            </a:r>
            <a:r>
              <a:rPr lang="en-US" dirty="0"/>
              <a:t>and </a:t>
            </a:r>
            <a:r>
              <a:rPr lang="en-US" b="1" dirty="0"/>
              <a:t>environmental sustainability</a:t>
            </a:r>
            <a:r>
              <a:rPr lang="en-US" dirty="0"/>
              <a:t>. In addition, </a:t>
            </a:r>
            <a:r>
              <a:rPr lang="en-US" b="1" dirty="0"/>
              <a:t>diet-related diseases</a:t>
            </a:r>
            <a:r>
              <a:rPr lang="en-US" dirty="0"/>
              <a:t> are the most common </a:t>
            </a:r>
            <a:r>
              <a:rPr lang="en-US" b="1" dirty="0"/>
              <a:t>causes of death </a:t>
            </a:r>
            <a:r>
              <a:rPr lang="en-US" dirty="0"/>
              <a:t>and lead to health impairments. Ensuring </a:t>
            </a:r>
            <a:r>
              <a:rPr lang="en-US" b="1" dirty="0"/>
              <a:t>adequate nutrition </a:t>
            </a:r>
            <a:r>
              <a:rPr lang="en-US" dirty="0"/>
              <a:t>while keeping </a:t>
            </a:r>
            <a:r>
              <a:rPr lang="en-US" b="1" dirty="0"/>
              <a:t>environmental impacts </a:t>
            </a:r>
            <a:r>
              <a:rPr lang="en-US" dirty="0"/>
              <a:t>as low as possible is therefore becoming increasingly important. Food systems worldwide must confront this challenge in order to achieve greater sustainability in people’s diets.</a:t>
            </a:r>
            <a:endParaRPr lang="en-GB" dirty="0"/>
          </a:p>
          <a:p>
            <a:endParaRPr lang="de-CH" dirty="0"/>
          </a:p>
        </p:txBody>
      </p:sp>
      <p:sp>
        <p:nvSpPr>
          <p:cNvPr id="6" name="Text Placeholder 5">
            <a:extLst>
              <a:ext uri="{FF2B5EF4-FFF2-40B4-BE49-F238E27FC236}">
                <a16:creationId xmlns:a16="http://schemas.microsoft.com/office/drawing/2014/main" id="{A0207F74-4D22-AF65-557E-CF0CD78EABBA}"/>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41086757-DE60-B894-8A96-1D6E5F876998}"/>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3" name="object 6">
            <a:extLst>
              <a:ext uri="{FF2B5EF4-FFF2-40B4-BE49-F238E27FC236}">
                <a16:creationId xmlns:a16="http://schemas.microsoft.com/office/drawing/2014/main" id="{18C332A0-A266-1FE5-618C-83F10285A1CE}"/>
              </a:ext>
            </a:extLst>
          </p:cNvPr>
          <p:cNvPicPr>
            <a:picLocks noGrp="1"/>
          </p:cNvPicPr>
          <p:nvPr>
            <p:ph type="pic" sz="quarter" idx="16"/>
          </p:nvPr>
        </p:nvPicPr>
        <p:blipFill>
          <a:blip r:embed="rId5" cstate="print"/>
          <a:srcRect l="22658" r="22658"/>
          <a:stretch>
            <a:fillRect/>
          </a:stretch>
        </p:blipFill>
        <p:spPr>
          <a:prstGeom prst="rect">
            <a:avLst/>
          </a:prstGeom>
        </p:spPr>
      </p:pic>
    </p:spTree>
    <p:extLst>
      <p:ext uri="{BB962C8B-B14F-4D97-AF65-F5344CB8AC3E}">
        <p14:creationId xmlns:p14="http://schemas.microsoft.com/office/powerpoint/2010/main" val="3478888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262FA5A-3C87-4A8A-2F37-F54469A67DB5}"/>
              </a:ext>
            </a:extLst>
          </p:cNvPr>
          <p:cNvGraphicFramePr>
            <a:graphicFrameLocks noChangeAspect="1"/>
          </p:cNvGraphicFramePr>
          <p:nvPr>
            <p:custDataLst>
              <p:tags r:id="rId1"/>
            </p:custDataLst>
            <p:extLst>
              <p:ext uri="{D42A27DB-BD31-4B8C-83A1-F6EECF244321}">
                <p14:modId xmlns:p14="http://schemas.microsoft.com/office/powerpoint/2010/main" val="33436221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B262FA5A-3C87-4A8A-2F37-F54469A67D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FBE87-8EED-BAE9-983C-7C719172EB3A}"/>
              </a:ext>
            </a:extLst>
          </p:cNvPr>
          <p:cNvSpPr>
            <a:spLocks noGrp="1"/>
          </p:cNvSpPr>
          <p:nvPr>
            <p:ph type="title"/>
          </p:nvPr>
        </p:nvSpPr>
        <p:spPr/>
        <p:txBody>
          <a:bodyPr vert="horz"/>
          <a:lstStyle/>
          <a:p>
            <a:r>
              <a:rPr lang="en-US" dirty="0"/>
              <a:t>Impacts of Swiss food consumption and trade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FA07D2B8-F0AD-AF22-4C3D-8803E9DA8F6A}"/>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Text Placeholder 4">
            <a:extLst>
              <a:ext uri="{FF2B5EF4-FFF2-40B4-BE49-F238E27FC236}">
                <a16:creationId xmlns:a16="http://schemas.microsoft.com/office/drawing/2014/main" id="{97A88958-E924-BB2C-DAB4-05AC57A6FBC6}"/>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9F92883E-83ED-C589-6F36-F106744E7F7B}"/>
              </a:ext>
            </a:extLst>
          </p:cNvPr>
          <p:cNvSpPr>
            <a:spLocks noGrp="1"/>
          </p:cNvSpPr>
          <p:nvPr>
            <p:ph type="body" sz="quarter" idx="13"/>
          </p:nvPr>
        </p:nvSpPr>
        <p:spPr>
          <a:xfrm>
            <a:off x="479425" y="2565400"/>
            <a:ext cx="4233251" cy="3455988"/>
          </a:xfrm>
        </p:spPr>
        <p:txBody>
          <a:bodyPr/>
          <a:lstStyle/>
          <a:p>
            <a:pPr marL="0" indent="0">
              <a:buNone/>
            </a:pPr>
            <a:r>
              <a:rPr lang="en-US" dirty="0"/>
              <a:t>We aimed to develop a novel framework that combines </a:t>
            </a:r>
            <a:r>
              <a:rPr lang="en-US" b="1" dirty="0"/>
              <a:t>multi-indicator–based </a:t>
            </a:r>
            <a:r>
              <a:rPr lang="en-US" dirty="0"/>
              <a:t>environmental and ecosystem-impact assessments with </a:t>
            </a:r>
            <a:r>
              <a:rPr lang="en-US" b="1" dirty="0"/>
              <a:t>nutritional-quality</a:t>
            </a:r>
            <a:r>
              <a:rPr lang="en-US" dirty="0"/>
              <a:t> evaluation in order to assess the sustainability of national </a:t>
            </a:r>
            <a:r>
              <a:rPr lang="en-US" b="1" dirty="0"/>
              <a:t>food systems</a:t>
            </a:r>
            <a:r>
              <a:rPr lang="en-US" dirty="0"/>
              <a:t>.</a:t>
            </a:r>
          </a:p>
          <a:p>
            <a:endParaRPr lang="de-CH" dirty="0"/>
          </a:p>
        </p:txBody>
      </p:sp>
      <p:sp>
        <p:nvSpPr>
          <p:cNvPr id="7" name="Text Placeholder 6">
            <a:extLst>
              <a:ext uri="{FF2B5EF4-FFF2-40B4-BE49-F238E27FC236}">
                <a16:creationId xmlns:a16="http://schemas.microsoft.com/office/drawing/2014/main" id="{455A5540-2A90-7D18-67D2-5EB99C0F8FDB}"/>
              </a:ext>
            </a:extLst>
          </p:cNvPr>
          <p:cNvSpPr>
            <a:spLocks noGrp="1"/>
          </p:cNvSpPr>
          <p:nvPr>
            <p:ph type="body" sz="quarter" idx="12"/>
          </p:nvPr>
        </p:nvSpPr>
        <p:spPr>
          <a:xfrm>
            <a:off x="479424" y="1808163"/>
            <a:ext cx="4367213"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6E76808B-FB65-2E92-7E8E-7D6E5A34D283}"/>
              </a:ext>
            </a:extLst>
          </p:cNvPr>
          <p:cNvSpPr>
            <a:spLocks noGrp="1"/>
          </p:cNvSpPr>
          <p:nvPr>
            <p:ph type="ftr" sz="quarter" idx="16"/>
          </p:nvPr>
        </p:nvSpPr>
        <p:spPr/>
        <p:txBody>
          <a:bodyPr/>
          <a:lstStyle/>
          <a:p>
            <a:r>
              <a:rPr lang="de-CH" dirty="0"/>
              <a:t>NFP 73 – </a:t>
            </a:r>
            <a:r>
              <a:rPr lang="de-CH" dirty="0" err="1"/>
              <a:t>Sustainable</a:t>
            </a:r>
            <a:r>
              <a:rPr lang="de-CH" dirty="0"/>
              <a:t> Economy</a:t>
            </a:r>
          </a:p>
        </p:txBody>
      </p:sp>
      <p:pic>
        <p:nvPicPr>
          <p:cNvPr id="13" name="object 5">
            <a:extLst>
              <a:ext uri="{FF2B5EF4-FFF2-40B4-BE49-F238E27FC236}">
                <a16:creationId xmlns:a16="http://schemas.microsoft.com/office/drawing/2014/main" id="{71BE3005-08D6-3303-0179-C648A1106457}"/>
              </a:ext>
            </a:extLst>
          </p:cNvPr>
          <p:cNvPicPr>
            <a:picLocks noGrp="1"/>
          </p:cNvPicPr>
          <p:nvPr>
            <p:ph type="pic" sz="quarter" idx="10"/>
          </p:nvPr>
        </p:nvPicPr>
        <p:blipFill>
          <a:blip r:embed="rId5" cstate="print"/>
          <a:srcRect t="7062" b="7062"/>
          <a:stretch>
            <a:fillRect/>
          </a:stretch>
        </p:blipFill>
        <p:spPr>
          <a:xfrm>
            <a:off x="4846638" y="1808163"/>
            <a:ext cx="7345362" cy="4213225"/>
          </a:xfrm>
          <a:prstGeom prst="rect">
            <a:avLst/>
          </a:prstGeom>
        </p:spPr>
      </p:pic>
    </p:spTree>
    <p:extLst>
      <p:ext uri="{BB962C8B-B14F-4D97-AF65-F5344CB8AC3E}">
        <p14:creationId xmlns:p14="http://schemas.microsoft.com/office/powerpoint/2010/main" val="1045434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11C365-2957-56CE-E330-B367CC1BEB53}"/>
              </a:ext>
            </a:extLst>
          </p:cNvPr>
          <p:cNvGraphicFramePr>
            <a:graphicFrameLocks noChangeAspect="1"/>
          </p:cNvGraphicFramePr>
          <p:nvPr>
            <p:custDataLst>
              <p:tags r:id="rId1"/>
            </p:custDataLst>
            <p:extLst>
              <p:ext uri="{D42A27DB-BD31-4B8C-83A1-F6EECF244321}">
                <p14:modId xmlns:p14="http://schemas.microsoft.com/office/powerpoint/2010/main" val="7119928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111C365-2957-56CE-E330-B367CC1BEB5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EF4BB0-D037-31F5-815A-D00B18CD8AF9}"/>
              </a:ext>
            </a:extLst>
          </p:cNvPr>
          <p:cNvSpPr>
            <a:spLocks noGrp="1"/>
          </p:cNvSpPr>
          <p:nvPr>
            <p:ph type="title"/>
          </p:nvPr>
        </p:nvSpPr>
        <p:spPr/>
        <p:txBody>
          <a:bodyPr vert="horz"/>
          <a:lstStyle/>
          <a:p>
            <a:r>
              <a:rPr lang="en-US" dirty="0"/>
              <a:t>Impacts of Swiss food consumption and trade</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5DD00505-1D77-C557-D434-F0E0C45943AF}"/>
              </a:ext>
            </a:extLst>
          </p:cNvPr>
          <p:cNvSpPr>
            <a:spLocks noGrp="1"/>
          </p:cNvSpPr>
          <p:nvPr>
            <p:ph type="body" sz="quarter" idx="13"/>
          </p:nvPr>
        </p:nvSpPr>
        <p:spPr/>
        <p:txBody>
          <a:bodyPr/>
          <a:lstStyle/>
          <a:p>
            <a:pPr marL="0" indent="0">
              <a:buNone/>
            </a:pPr>
            <a:r>
              <a:rPr lang="en-US" b="1" dirty="0"/>
              <a:t>Nutritional and environmental impacts of our food consumption</a:t>
            </a:r>
            <a:endParaRPr lang="en-US" dirty="0"/>
          </a:p>
          <a:p>
            <a:r>
              <a:rPr lang="en-US" dirty="0"/>
              <a:t>First, the project presents a </a:t>
            </a:r>
            <a:r>
              <a:rPr lang="en-US" dirty="0">
                <a:solidFill>
                  <a:srgbClr val="83D0F5"/>
                </a:solidFill>
              </a:rPr>
              <a:t>global analysis </a:t>
            </a:r>
            <a:r>
              <a:rPr lang="en-US" dirty="0"/>
              <a:t>of the </a:t>
            </a:r>
            <a:r>
              <a:rPr lang="en-US" dirty="0">
                <a:solidFill>
                  <a:srgbClr val="83D0F5"/>
                </a:solidFill>
              </a:rPr>
              <a:t>sustainability status of national food systems </a:t>
            </a:r>
            <a:r>
              <a:rPr lang="en-US" dirty="0"/>
              <a:t>using 25 indicators across seven dimensions. </a:t>
            </a:r>
            <a:r>
              <a:rPr lang="en-US" dirty="0">
                <a:solidFill>
                  <a:srgbClr val="83D0F5"/>
                </a:solidFill>
              </a:rPr>
              <a:t>No country </a:t>
            </a:r>
            <a:r>
              <a:rPr lang="en-US" dirty="0"/>
              <a:t>can claim to have a </a:t>
            </a:r>
            <a:r>
              <a:rPr lang="en-US" dirty="0">
                <a:solidFill>
                  <a:srgbClr val="83D0F5"/>
                </a:solidFill>
              </a:rPr>
              <a:t>perfectly sustainable food system</a:t>
            </a:r>
            <a:r>
              <a:rPr lang="en-US" dirty="0"/>
              <a:t>. Like most other high-income countries, Switzerland performs well in terms of </a:t>
            </a:r>
            <a:r>
              <a:rPr lang="en-US" dirty="0">
                <a:solidFill>
                  <a:srgbClr val="83D0F5"/>
                </a:solidFill>
              </a:rPr>
              <a:t>social indicators</a:t>
            </a:r>
            <a:r>
              <a:rPr lang="en-US" dirty="0"/>
              <a:t>, but less well in the areas of the </a:t>
            </a:r>
            <a:r>
              <a:rPr lang="en-US" dirty="0">
                <a:solidFill>
                  <a:srgbClr val="83D0F5"/>
                </a:solidFill>
              </a:rPr>
              <a:t>environment, food losses</a:t>
            </a:r>
            <a:r>
              <a:rPr lang="en-US" dirty="0"/>
              <a:t>, and </a:t>
            </a:r>
            <a:r>
              <a:rPr lang="en-US" dirty="0">
                <a:solidFill>
                  <a:srgbClr val="83D0F5"/>
                </a:solidFill>
              </a:rPr>
              <a:t>health-promoting diets</a:t>
            </a:r>
            <a:r>
              <a:rPr lang="en-US" dirty="0"/>
              <a:t>. </a:t>
            </a:r>
            <a:r>
              <a:rPr lang="en-US" dirty="0">
                <a:solidFill>
                  <a:srgbClr val="83D0F5"/>
                </a:solidFill>
              </a:rPr>
              <a:t>Low-income countries </a:t>
            </a:r>
            <a:r>
              <a:rPr lang="en-US" dirty="0"/>
              <a:t>perform well in terms of </a:t>
            </a:r>
            <a:r>
              <a:rPr lang="en-US" dirty="0">
                <a:solidFill>
                  <a:srgbClr val="83D0F5"/>
                </a:solidFill>
              </a:rPr>
              <a:t>per-capita</a:t>
            </a:r>
            <a:r>
              <a:rPr lang="en-US" dirty="0"/>
              <a:t> </a:t>
            </a:r>
            <a:r>
              <a:rPr lang="en-US" dirty="0">
                <a:solidFill>
                  <a:srgbClr val="83D0F5"/>
                </a:solidFill>
              </a:rPr>
              <a:t>environmental impacts</a:t>
            </a:r>
            <a:r>
              <a:rPr lang="en-US" dirty="0"/>
              <a:t> </a:t>
            </a:r>
            <a:r>
              <a:rPr lang="en-US" dirty="0">
                <a:solidFill>
                  <a:srgbClr val="83D0F5"/>
                </a:solidFill>
              </a:rPr>
              <a:t>related to food</a:t>
            </a:r>
            <a:r>
              <a:rPr lang="en-US" dirty="0"/>
              <a:t>, but fare poorly in </a:t>
            </a:r>
            <a:r>
              <a:rPr lang="en-US" dirty="0">
                <a:solidFill>
                  <a:srgbClr val="83D0F5"/>
                </a:solidFill>
              </a:rPr>
              <a:t>nutrition</a:t>
            </a:r>
            <a:r>
              <a:rPr lang="en-US" dirty="0"/>
              <a:t> and </a:t>
            </a:r>
            <a:r>
              <a:rPr lang="en-US" dirty="0">
                <a:solidFill>
                  <a:srgbClr val="83D0F5"/>
                </a:solidFill>
              </a:rPr>
              <a:t>social aspects</a:t>
            </a:r>
            <a:r>
              <a:rPr lang="en-US" dirty="0"/>
              <a:t>.</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D8FE9A8E-96EF-7830-A173-C0ACC29540B8}"/>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8DF2F8EF-8825-A110-4071-C8E41AFDE02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9939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A4C039-DDF4-FAEA-B22A-16D0C72A3BD5}"/>
              </a:ext>
            </a:extLst>
          </p:cNvPr>
          <p:cNvGraphicFramePr>
            <a:graphicFrameLocks noChangeAspect="1"/>
          </p:cNvGraphicFramePr>
          <p:nvPr>
            <p:custDataLst>
              <p:tags r:id="rId1"/>
            </p:custDataLst>
            <p:extLst>
              <p:ext uri="{D42A27DB-BD31-4B8C-83A1-F6EECF244321}">
                <p14:modId xmlns:p14="http://schemas.microsoft.com/office/powerpoint/2010/main" val="41369474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FA4C039-DDF4-FAEA-B22A-16D0C72A3B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EC4783-1A3B-9DB8-9599-9BC0568B35C3}"/>
              </a:ext>
            </a:extLst>
          </p:cNvPr>
          <p:cNvSpPr>
            <a:spLocks noGrp="1"/>
          </p:cNvSpPr>
          <p:nvPr>
            <p:ph type="title"/>
          </p:nvPr>
        </p:nvSpPr>
        <p:spPr/>
        <p:txBody>
          <a:bodyPr vert="horz"/>
          <a:lstStyle/>
          <a:p>
            <a:r>
              <a:rPr lang="en-US" dirty="0"/>
              <a:t>Impacts of Swiss food consumption and trade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5322A6FE-B3AB-7089-6781-095DDA58068C}"/>
              </a:ext>
            </a:extLst>
          </p:cNvPr>
          <p:cNvSpPr>
            <a:spLocks noGrp="1"/>
          </p:cNvSpPr>
          <p:nvPr>
            <p:ph type="body" sz="quarter" idx="13"/>
          </p:nvPr>
        </p:nvSpPr>
        <p:spPr/>
        <p:txBody>
          <a:bodyPr/>
          <a:lstStyle/>
          <a:p>
            <a:pPr marL="0" indent="0">
              <a:buNone/>
            </a:pPr>
            <a:r>
              <a:rPr lang="en-US" b="1" dirty="0"/>
              <a:t>Potential of more sustainable diets in Switzerland</a:t>
            </a:r>
            <a:endParaRPr lang="en-US" dirty="0"/>
          </a:p>
          <a:p>
            <a:r>
              <a:rPr lang="en-US" dirty="0"/>
              <a:t>Second, we analyzed various scenarios of possible dietary changes in order to show the scale at which Switzerland could benefit—</a:t>
            </a:r>
            <a:r>
              <a:rPr lang="en-US" dirty="0">
                <a:solidFill>
                  <a:srgbClr val="83D0F5"/>
                </a:solidFill>
              </a:rPr>
              <a:t>environmentally, health-wise</a:t>
            </a:r>
            <a:r>
              <a:rPr lang="en-US" dirty="0"/>
              <a:t>, and </a:t>
            </a:r>
            <a:r>
              <a:rPr lang="en-US" dirty="0">
                <a:solidFill>
                  <a:srgbClr val="83D0F5"/>
                </a:solidFill>
              </a:rPr>
              <a:t>economically</a:t>
            </a:r>
            <a:r>
              <a:rPr lang="en-US" dirty="0"/>
              <a:t>—from a more </a:t>
            </a:r>
            <a:r>
              <a:rPr lang="en-US" dirty="0">
                <a:solidFill>
                  <a:srgbClr val="83D0F5"/>
                </a:solidFill>
              </a:rPr>
              <a:t>sustainable diet</a:t>
            </a:r>
            <a:r>
              <a:rPr lang="en-US" dirty="0"/>
              <a:t>. By following the recommendations of the </a:t>
            </a:r>
            <a:r>
              <a:rPr lang="en-US" dirty="0">
                <a:solidFill>
                  <a:srgbClr val="83D0F5"/>
                </a:solidFill>
              </a:rPr>
              <a:t>Swiss Society for Nutrition </a:t>
            </a:r>
            <a:r>
              <a:rPr lang="de-CH" dirty="0"/>
              <a:t>(</a:t>
            </a:r>
            <a:r>
              <a:rPr lang="de-CH" dirty="0">
                <a:hlinkClick r:id="rId5">
                  <a:extLst>
                    <a:ext uri="{A12FA001-AC4F-418D-AE19-62706E023703}">
                      <ahyp:hlinkClr xmlns:ahyp="http://schemas.microsoft.com/office/drawing/2018/hyperlinkcolor" val="tx"/>
                    </a:ext>
                  </a:extLst>
                </a:hlinkClick>
              </a:rPr>
              <a:t>https://www.sge-ssn.ch/</a:t>
            </a:r>
            <a:r>
              <a:rPr lang="de-CH" dirty="0"/>
              <a:t>) </a:t>
            </a:r>
            <a:r>
              <a:rPr lang="en-US" dirty="0"/>
              <a:t>, we could </a:t>
            </a:r>
            <a:r>
              <a:rPr lang="en-US" dirty="0">
                <a:solidFill>
                  <a:srgbClr val="83D0F5"/>
                </a:solidFill>
              </a:rPr>
              <a:t>reduce</a:t>
            </a:r>
            <a:r>
              <a:rPr lang="en-US" dirty="0"/>
              <a:t> the </a:t>
            </a:r>
            <a:r>
              <a:rPr lang="en-US" dirty="0">
                <a:solidFill>
                  <a:srgbClr val="83D0F5"/>
                </a:solidFill>
              </a:rPr>
              <a:t>ecological footprint </a:t>
            </a:r>
            <a:r>
              <a:rPr lang="en-US" dirty="0"/>
              <a:t>of our diets by </a:t>
            </a:r>
            <a:r>
              <a:rPr lang="en-US" dirty="0">
                <a:solidFill>
                  <a:srgbClr val="83D0F5"/>
                </a:solidFill>
              </a:rPr>
              <a:t>36%</a:t>
            </a:r>
            <a:r>
              <a:rPr lang="en-US" dirty="0"/>
              <a:t>, </a:t>
            </a:r>
            <a:r>
              <a:rPr lang="en-US" dirty="0">
                <a:solidFill>
                  <a:srgbClr val="83D0F5"/>
                </a:solidFill>
              </a:rPr>
              <a:t>save 33% in costs</a:t>
            </a:r>
            <a:r>
              <a:rPr lang="en-US" dirty="0"/>
              <a:t>, and </a:t>
            </a:r>
            <a:r>
              <a:rPr lang="en-US" dirty="0">
                <a:solidFill>
                  <a:srgbClr val="83D0F5"/>
                </a:solidFill>
              </a:rPr>
              <a:t>lower negative health impacts </a:t>
            </a:r>
            <a:r>
              <a:rPr lang="en-US" dirty="0"/>
              <a:t>by </a:t>
            </a:r>
            <a:r>
              <a:rPr lang="en-US" dirty="0">
                <a:solidFill>
                  <a:srgbClr val="83D0F5"/>
                </a:solidFill>
              </a:rPr>
              <a:t>2.7%. </a:t>
            </a:r>
            <a:r>
              <a:rPr lang="en-US" dirty="0"/>
              <a:t>A vegetarian or vegan diet can lead to deficiencies in certain micronutrients that we currently obtain mainly from animal products (vitamin B12, choline, and calcium).</a:t>
            </a:r>
          </a:p>
          <a:p>
            <a:pPr marL="0" indent="0">
              <a:buNone/>
            </a:pPr>
            <a:endParaRPr lang="de-CH" dirty="0"/>
          </a:p>
          <a:p>
            <a:endParaRPr lang="de-CH" dirty="0">
              <a:solidFill>
                <a:srgbClr val="83D0F5"/>
              </a:solidFill>
            </a:endParaRPr>
          </a:p>
        </p:txBody>
      </p:sp>
      <p:sp>
        <p:nvSpPr>
          <p:cNvPr id="4" name="Slide Number Placeholder 3">
            <a:extLst>
              <a:ext uri="{FF2B5EF4-FFF2-40B4-BE49-F238E27FC236}">
                <a16:creationId xmlns:a16="http://schemas.microsoft.com/office/drawing/2014/main" id="{2D1426EE-1EF4-0441-585B-60CD5184DADF}"/>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ABCB9658-2972-04DA-0249-149F992548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410309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36D13-DB91-C166-6C18-9B317E9E3F1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3AC8E1-635A-466A-8F77-762037EF2982}"/>
              </a:ext>
            </a:extLst>
          </p:cNvPr>
          <p:cNvGraphicFramePr>
            <a:graphicFrameLocks noChangeAspect="1"/>
          </p:cNvGraphicFramePr>
          <p:nvPr>
            <p:custDataLst>
              <p:tags r:id="rId1"/>
            </p:custDataLst>
            <p:extLst>
              <p:ext uri="{D42A27DB-BD31-4B8C-83A1-F6EECF244321}">
                <p14:modId xmlns:p14="http://schemas.microsoft.com/office/powerpoint/2010/main" val="22443788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D3AC8E1-635A-466A-8F77-762037EF29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FACB1D-EAB8-F96E-74EA-CAB3B185270F}"/>
              </a:ext>
            </a:extLst>
          </p:cNvPr>
          <p:cNvSpPr>
            <a:spLocks noGrp="1"/>
          </p:cNvSpPr>
          <p:nvPr>
            <p:ph type="title"/>
          </p:nvPr>
        </p:nvSpPr>
        <p:spPr/>
        <p:txBody>
          <a:bodyPr vert="horz"/>
          <a:lstStyle/>
          <a:p>
            <a:r>
              <a:rPr lang="en-US" dirty="0"/>
              <a:t>Impacts of Swiss food consumption and trade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A537B41E-02E2-81ED-D884-02BCF03ACEFB}"/>
              </a:ext>
            </a:extLst>
          </p:cNvPr>
          <p:cNvSpPr>
            <a:spLocks noGrp="1"/>
          </p:cNvSpPr>
          <p:nvPr>
            <p:ph type="body" sz="quarter" idx="13"/>
          </p:nvPr>
        </p:nvSpPr>
        <p:spPr/>
        <p:txBody>
          <a:bodyPr/>
          <a:lstStyle/>
          <a:p>
            <a:pPr marL="0" indent="0">
              <a:buNone/>
            </a:pPr>
            <a:r>
              <a:rPr lang="en-US" b="1" dirty="0"/>
              <a:t>Global food waste: scale, nutrient losses, and environmental impacts</a:t>
            </a:r>
            <a:endParaRPr lang="en-US" dirty="0"/>
          </a:p>
          <a:p>
            <a:r>
              <a:rPr lang="en-US" dirty="0"/>
              <a:t>Third, quantifying </a:t>
            </a:r>
            <a:r>
              <a:rPr lang="en-US" dirty="0">
                <a:solidFill>
                  <a:srgbClr val="83D0F5"/>
                </a:solidFill>
              </a:rPr>
              <a:t>global food waste </a:t>
            </a:r>
            <a:r>
              <a:rPr lang="en-US" dirty="0"/>
              <a:t>shows that on average worldwide, </a:t>
            </a:r>
            <a:r>
              <a:rPr lang="en-US" dirty="0">
                <a:solidFill>
                  <a:srgbClr val="83D0F5"/>
                </a:solidFill>
              </a:rPr>
              <a:t>65 kg of food </a:t>
            </a:r>
            <a:r>
              <a:rPr lang="en-US" dirty="0"/>
              <a:t>per person are lost each year. From the wasted food, one person could eat </a:t>
            </a:r>
            <a:r>
              <a:rPr lang="en-US" dirty="0">
                <a:solidFill>
                  <a:srgbClr val="83D0F5"/>
                </a:solidFill>
              </a:rPr>
              <a:t>healthily for 18 days </a:t>
            </a:r>
            <a:r>
              <a:rPr lang="en-US" dirty="0"/>
              <a:t>if we consider the 25 nutrients used in the analysis. The environmental footprint of daily food losses per person amounts to 124 g CO₂-equivalents, 58 liters of freshwater, 0.36 m² of cropland use, 2.90 g of nitrogen, and 0.48 g of phosphorus. The nutrients and environmental footprint of wasted food vary from country to country. Therefore, measures to change eating habits and reduce food losses must be tailored to individual countries. </a:t>
            </a:r>
            <a:r>
              <a:rPr lang="en-US" dirty="0">
                <a:solidFill>
                  <a:srgbClr val="83D0F5"/>
                </a:solidFill>
              </a:rPr>
              <a:t>High-income countries </a:t>
            </a:r>
            <a:r>
              <a:rPr lang="en-US" dirty="0"/>
              <a:t>waste </a:t>
            </a:r>
            <a:r>
              <a:rPr lang="en-US" dirty="0">
                <a:solidFill>
                  <a:srgbClr val="83D0F5"/>
                </a:solidFill>
              </a:rPr>
              <a:t>six times more food </a:t>
            </a:r>
            <a:r>
              <a:rPr lang="en-US" dirty="0"/>
              <a:t>per person than </a:t>
            </a:r>
            <a:r>
              <a:rPr lang="en-US" dirty="0">
                <a:solidFill>
                  <a:srgbClr val="83D0F5"/>
                </a:solidFill>
              </a:rPr>
              <a:t>low-income countries</a:t>
            </a:r>
            <a:r>
              <a:rPr lang="en-US" dirty="0"/>
              <a:t>, and the associated </a:t>
            </a:r>
            <a:r>
              <a:rPr lang="en-US" dirty="0">
                <a:solidFill>
                  <a:srgbClr val="83D0F5"/>
                </a:solidFill>
              </a:rPr>
              <a:t>environmental burden </a:t>
            </a:r>
            <a:r>
              <a:rPr lang="en-US" dirty="0"/>
              <a:t>is </a:t>
            </a:r>
            <a:r>
              <a:rPr lang="en-US" dirty="0">
                <a:solidFill>
                  <a:srgbClr val="83D0F5"/>
                </a:solidFill>
              </a:rPr>
              <a:t>ten times higher </a:t>
            </a:r>
            <a:r>
              <a:rPr lang="en-US" dirty="0"/>
              <a:t>than in low-income countries.</a:t>
            </a:r>
          </a:p>
          <a:p>
            <a:endParaRPr lang="de-CH" dirty="0"/>
          </a:p>
          <a:p>
            <a:endParaRPr lang="de-CH" b="1" dirty="0"/>
          </a:p>
        </p:txBody>
      </p:sp>
      <p:sp>
        <p:nvSpPr>
          <p:cNvPr id="4" name="Slide Number Placeholder 3">
            <a:extLst>
              <a:ext uri="{FF2B5EF4-FFF2-40B4-BE49-F238E27FC236}">
                <a16:creationId xmlns:a16="http://schemas.microsoft.com/office/drawing/2014/main" id="{342D5DC7-D229-9F9E-D2F3-9F216F64323C}"/>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77CBC49F-22A5-F851-2621-545B1F08535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871055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B723C-9E05-4A6C-6E69-D78038FEEB2F}"/>
              </a:ext>
            </a:extLst>
          </p:cNvPr>
          <p:cNvGraphicFramePr>
            <a:graphicFrameLocks noChangeAspect="1"/>
          </p:cNvGraphicFramePr>
          <p:nvPr>
            <p:custDataLst>
              <p:tags r:id="rId1"/>
            </p:custDataLst>
            <p:extLst>
              <p:ext uri="{D42A27DB-BD31-4B8C-83A1-F6EECF244321}">
                <p14:modId xmlns:p14="http://schemas.microsoft.com/office/powerpoint/2010/main" val="9932375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66B723C-9E05-4A6C-6E69-D78038FEEB2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0299A2-BF7E-2DD4-8CAD-EF0A85F66849}"/>
              </a:ext>
            </a:extLst>
          </p:cNvPr>
          <p:cNvSpPr>
            <a:spLocks noGrp="1"/>
          </p:cNvSpPr>
          <p:nvPr>
            <p:ph type="title"/>
          </p:nvPr>
        </p:nvSpPr>
        <p:spPr/>
        <p:txBody>
          <a:bodyPr vert="horz"/>
          <a:lstStyle/>
          <a:p>
            <a:r>
              <a:rPr lang="en-US" sz="4000" dirty="0"/>
              <a:t>Relationship between diet and ecosystems</a:t>
            </a:r>
            <a:endParaRPr lang="de-CH" dirty="0"/>
          </a:p>
        </p:txBody>
      </p:sp>
      <p:sp>
        <p:nvSpPr>
          <p:cNvPr id="3" name="Text Placeholder 2">
            <a:extLst>
              <a:ext uri="{FF2B5EF4-FFF2-40B4-BE49-F238E27FC236}">
                <a16:creationId xmlns:a16="http://schemas.microsoft.com/office/drawing/2014/main" id="{EB00BB83-7C54-5D1B-2D79-7EBFB805EE75}"/>
              </a:ext>
            </a:extLst>
          </p:cNvPr>
          <p:cNvSpPr>
            <a:spLocks noGrp="1"/>
          </p:cNvSpPr>
          <p:nvPr>
            <p:ph type="body" sz="quarter" idx="13"/>
          </p:nvPr>
        </p:nvSpPr>
        <p:spPr/>
        <p:txBody>
          <a:bodyPr/>
          <a:lstStyle/>
          <a:p>
            <a:endParaRPr lang="de-CH" dirty="0"/>
          </a:p>
        </p:txBody>
      </p:sp>
      <p:sp>
        <p:nvSpPr>
          <p:cNvPr id="4" name="Slide Number Placeholder 3">
            <a:extLst>
              <a:ext uri="{FF2B5EF4-FFF2-40B4-BE49-F238E27FC236}">
                <a16:creationId xmlns:a16="http://schemas.microsoft.com/office/drawing/2014/main" id="{A7AC23FB-B309-0290-2B4C-D835779B8E51}"/>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487E0DAA-37A8-A7E7-4934-0B84B600396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9" name="Picture 8">
            <a:extLst>
              <a:ext uri="{FF2B5EF4-FFF2-40B4-BE49-F238E27FC236}">
                <a16:creationId xmlns:a16="http://schemas.microsoft.com/office/drawing/2014/main" id="{68D54DC7-DE9C-A810-E90C-F89F8567DEC1}"/>
              </a:ext>
            </a:extLst>
          </p:cNvPr>
          <p:cNvPicPr>
            <a:picLocks noChangeAspect="1"/>
          </p:cNvPicPr>
          <p:nvPr/>
        </p:nvPicPr>
        <p:blipFill>
          <a:blip r:embed="rId5"/>
          <a:stretch>
            <a:fillRect/>
          </a:stretch>
        </p:blipFill>
        <p:spPr>
          <a:xfrm>
            <a:off x="1525555" y="1867158"/>
            <a:ext cx="4878144" cy="4095233"/>
          </a:xfrm>
          <a:prstGeom prst="rect">
            <a:avLst/>
          </a:prstGeom>
        </p:spPr>
      </p:pic>
      <p:sp>
        <p:nvSpPr>
          <p:cNvPr id="11" name="TextBox 10">
            <a:extLst>
              <a:ext uri="{FF2B5EF4-FFF2-40B4-BE49-F238E27FC236}">
                <a16:creationId xmlns:a16="http://schemas.microsoft.com/office/drawing/2014/main" id="{3E050242-3C0A-15EB-CBEE-238516936194}"/>
              </a:ext>
            </a:extLst>
          </p:cNvPr>
          <p:cNvSpPr txBox="1"/>
          <p:nvPr/>
        </p:nvSpPr>
        <p:spPr>
          <a:xfrm>
            <a:off x="7277833" y="5726606"/>
            <a:ext cx="6097464" cy="338554"/>
          </a:xfrm>
          <a:prstGeom prst="rect">
            <a:avLst/>
          </a:prstGeom>
          <a:noFill/>
        </p:spPr>
        <p:txBody>
          <a:bodyPr wrap="square">
            <a:spAutoFit/>
          </a:bodyPr>
          <a:lstStyle/>
          <a:p>
            <a:pPr marL="0" indent="0">
              <a:buNone/>
            </a:pPr>
            <a:r>
              <a:rPr lang="de-CH" sz="1600" dirty="0"/>
              <a:t>Source: </a:t>
            </a:r>
            <a:r>
              <a:rPr lang="de-CH" sz="1600" dirty="0">
                <a:hlinkClick r:id="rId6"/>
              </a:rPr>
              <a:t>Multi-indicator sustainability assessment</a:t>
            </a:r>
            <a:endParaRPr lang="de-CH" sz="1600" dirty="0"/>
          </a:p>
        </p:txBody>
      </p:sp>
    </p:spTree>
    <p:extLst>
      <p:ext uri="{BB962C8B-B14F-4D97-AF65-F5344CB8AC3E}">
        <p14:creationId xmlns:p14="http://schemas.microsoft.com/office/powerpoint/2010/main" val="591329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16C34-0DE9-D356-9CAC-1C83C93F0F01}"/>
              </a:ext>
            </a:extLst>
          </p:cNvPr>
          <p:cNvSpPr>
            <a:spLocks noGrp="1"/>
          </p:cNvSpPr>
          <p:nvPr>
            <p:ph type="title"/>
          </p:nvPr>
        </p:nvSpPr>
        <p:spPr/>
        <p:txBody>
          <a:bodyPr/>
          <a:lstStyle/>
          <a:p>
            <a:r>
              <a:rPr lang="en-US" dirty="0"/>
              <a:t>Interaction of economy and ecology in Swiss farms</a:t>
            </a:r>
            <a:br>
              <a:rPr lang="en-US" b="1" dirty="0"/>
            </a:br>
            <a:br>
              <a:rPr lang="en-US" dirty="0"/>
            </a:br>
            <a:endParaRPr lang="de-CH" dirty="0"/>
          </a:p>
        </p:txBody>
      </p:sp>
      <p:sp>
        <p:nvSpPr>
          <p:cNvPr id="3" name="Text Placeholder 2">
            <a:extLst>
              <a:ext uri="{FF2B5EF4-FFF2-40B4-BE49-F238E27FC236}">
                <a16:creationId xmlns:a16="http://schemas.microsoft.com/office/drawing/2014/main" id="{F52DE692-E9ED-8E13-4726-3A3AE42A46A8}"/>
              </a:ext>
            </a:extLst>
          </p:cNvPr>
          <p:cNvSpPr>
            <a:spLocks noGrp="1"/>
          </p:cNvSpPr>
          <p:nvPr>
            <p:ph type="body" sz="quarter" idx="13"/>
          </p:nvPr>
        </p:nvSpPr>
        <p:spPr>
          <a:xfrm>
            <a:off x="479425" y="1808163"/>
            <a:ext cx="5160930" cy="4213225"/>
          </a:xfrm>
        </p:spPr>
        <p:txBody>
          <a:bodyPr/>
          <a:lstStyle/>
          <a:p>
            <a:pPr marL="0" indent="0">
              <a:buNone/>
            </a:pPr>
            <a:r>
              <a:rPr lang="de-CH" dirty="0"/>
              <a:t>«</a:t>
            </a:r>
            <a:r>
              <a:rPr lang="en-US" dirty="0"/>
              <a:t>In Swiss agriculture, it is possible to produce in an environmentally compatible way while remaining economically viable. However, the very wide range of results in this study points to substantial room for improvement in both dimensions. Producing food, generating income, and protecting the environment are not mutually exclusive</a:t>
            </a:r>
            <a:r>
              <a:rPr lang="de-CH" dirty="0"/>
              <a:t>.»</a:t>
            </a:r>
          </a:p>
          <a:p>
            <a:pPr algn="r"/>
            <a:r>
              <a:rPr lang="de-CH" dirty="0"/>
              <a:t>Dr. Thomas Nemecek, Project </a:t>
            </a:r>
            <a:r>
              <a:rPr lang="de-CH" dirty="0" err="1"/>
              <a:t>lead</a:t>
            </a:r>
            <a:r>
              <a:rPr lang="de-CH" dirty="0"/>
              <a:t>, </a:t>
            </a:r>
            <a:r>
              <a:rPr lang="en-US" dirty="0"/>
              <a:t>Interaction of economy and ecology in Swiss farms</a:t>
            </a:r>
            <a:endParaRPr lang="de-CH"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CE101034-FB39-0F73-0544-8AC02F4DC3AA}"/>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51DD1927-D809-E49D-9F20-B6984EB8D28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field of flowers and trees&#10;&#10;AI-generated content may be incorrect.">
            <a:extLst>
              <a:ext uri="{FF2B5EF4-FFF2-40B4-BE49-F238E27FC236}">
                <a16:creationId xmlns:a16="http://schemas.microsoft.com/office/drawing/2014/main" id="{A28AF664-BC4C-E7B6-9562-900B140B21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9957" y="1804633"/>
            <a:ext cx="6342042" cy="4225859"/>
          </a:xfrm>
          <a:prstGeom prst="rect">
            <a:avLst/>
          </a:prstGeom>
        </p:spPr>
      </p:pic>
    </p:spTree>
    <p:extLst>
      <p:ext uri="{BB962C8B-B14F-4D97-AF65-F5344CB8AC3E}">
        <p14:creationId xmlns:p14="http://schemas.microsoft.com/office/powerpoint/2010/main" val="169780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EC74B-04C2-B603-0B78-6B6E85F8FB06}"/>
              </a:ext>
            </a:extLst>
          </p:cNvPr>
          <p:cNvSpPr>
            <a:spLocks noGrp="1"/>
          </p:cNvSpPr>
          <p:nvPr>
            <p:ph type="title"/>
          </p:nvPr>
        </p:nvSpPr>
        <p:spPr/>
        <p:txBody>
          <a:bodyPr/>
          <a:lstStyle/>
          <a:p>
            <a:r>
              <a:rPr lang="en-US" dirty="0"/>
              <a:t>Interaction of economy and ecology in Swiss farms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7F8DED11-14E7-1B38-E38B-A193A588131D}"/>
              </a:ext>
            </a:extLst>
          </p:cNvPr>
          <p:cNvSpPr>
            <a:spLocks noGrp="1"/>
          </p:cNvSpPr>
          <p:nvPr>
            <p:ph type="body" sz="quarter" idx="13"/>
          </p:nvPr>
        </p:nvSpPr>
        <p:spPr/>
        <p:txBody>
          <a:bodyPr/>
          <a:lstStyle/>
          <a:p>
            <a:pPr marL="0" indent="0">
              <a:lnSpc>
                <a:spcPct val="107000"/>
              </a:lnSpc>
              <a:spcAft>
                <a:spcPts val="400"/>
              </a:spcAft>
              <a:buNone/>
            </a:pPr>
            <a:endParaRPr lang="de-CH" sz="1800" dirty="0"/>
          </a:p>
          <a:p>
            <a:pPr marL="457200" indent="-457200">
              <a:lnSpc>
                <a:spcPct val="107000"/>
              </a:lnSpc>
              <a:spcAft>
                <a:spcPts val="400"/>
              </a:spcAft>
              <a:buFont typeface="+mj-lt"/>
              <a:buAutoNum type="arabicPeriod"/>
            </a:pPr>
            <a:r>
              <a:rPr lang="en-US" dirty="0"/>
              <a:t>Economic performance and environmental efficiency: Which factors have the </a:t>
            </a:r>
            <a:r>
              <a:rPr lang="en-US" b="1" dirty="0"/>
              <a:t>greatest influence</a:t>
            </a:r>
            <a:r>
              <a:rPr lang="en-US" dirty="0"/>
              <a:t>?</a:t>
            </a:r>
          </a:p>
          <a:p>
            <a:pPr marL="457200" indent="-457200">
              <a:lnSpc>
                <a:spcPct val="107000"/>
              </a:lnSpc>
              <a:spcAft>
                <a:spcPts val="400"/>
              </a:spcAft>
              <a:buFont typeface="+mj-lt"/>
              <a:buAutoNum type="arabicPeriod"/>
            </a:pPr>
            <a:r>
              <a:rPr lang="en-US" dirty="0"/>
              <a:t>What is an “</a:t>
            </a:r>
            <a:r>
              <a:rPr lang="en-US" b="1" dirty="0"/>
              <a:t>Ecological Performance Certificate</a:t>
            </a:r>
            <a:r>
              <a:rPr lang="en-US" dirty="0"/>
              <a:t>” (ÖLN)?</a:t>
            </a:r>
          </a:p>
          <a:p>
            <a:pPr marL="457200" indent="-457200">
              <a:lnSpc>
                <a:spcPct val="107000"/>
              </a:lnSpc>
              <a:spcAft>
                <a:spcPts val="400"/>
              </a:spcAft>
              <a:buFont typeface="+mj-lt"/>
              <a:buAutoNum type="arabicPeriod"/>
            </a:pPr>
            <a:r>
              <a:rPr lang="en-US" dirty="0"/>
              <a:t>Is there a trade-off between </a:t>
            </a:r>
            <a:r>
              <a:rPr lang="en-US" b="1" dirty="0"/>
              <a:t>environmental efficiency</a:t>
            </a:r>
            <a:r>
              <a:rPr lang="en-US" dirty="0"/>
              <a:t> and </a:t>
            </a:r>
            <a:r>
              <a:rPr lang="en-US" b="1" dirty="0"/>
              <a:t>economic performance</a:t>
            </a:r>
            <a:r>
              <a:rPr lang="en-US" dirty="0"/>
              <a:t>?</a:t>
            </a:r>
            <a:endParaRPr lang="de-CH" sz="1800"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b="1" dirty="0"/>
          </a:p>
          <a:p>
            <a:pPr marL="0" indent="0">
              <a:lnSpc>
                <a:spcPct val="107000"/>
              </a:lnSpc>
              <a:spcAft>
                <a:spcPts val="400"/>
              </a:spcAft>
              <a:buNone/>
            </a:pPr>
            <a:r>
              <a:rPr lang="de-CH" sz="1600" b="1" dirty="0"/>
              <a:t>Source </a:t>
            </a:r>
            <a:r>
              <a:rPr lang="de-CH" sz="1600" b="1" dirty="0" err="1"/>
              <a:t>of</a:t>
            </a:r>
            <a:r>
              <a:rPr lang="de-CH" sz="1600" b="1" dirty="0"/>
              <a:t> </a:t>
            </a:r>
            <a:r>
              <a:rPr lang="de-CH" sz="1600" b="1" dirty="0" err="1"/>
              <a:t>knowledge</a:t>
            </a:r>
            <a:endParaRPr lang="de-CH" sz="1600" b="1" dirty="0"/>
          </a:p>
          <a:p>
            <a:pPr marL="0" indent="0">
              <a:lnSpc>
                <a:spcPct val="107000"/>
              </a:lnSpc>
              <a:spcAft>
                <a:spcPts val="400"/>
              </a:spcAft>
              <a:buNone/>
            </a:pPr>
            <a:r>
              <a:rPr lang="en-US" sz="1600" dirty="0">
                <a:hlinkClick r:id="rId2"/>
              </a:rPr>
              <a:t>Interaction of economy and ecology in Swiss farms </a:t>
            </a:r>
            <a:r>
              <a:rPr lang="de-CH" sz="1600" dirty="0"/>
              <a:t>(Website NFP 73)</a:t>
            </a:r>
          </a:p>
          <a:p>
            <a:pPr marL="0" indent="0">
              <a:lnSpc>
                <a:spcPct val="107000"/>
              </a:lnSpc>
              <a:spcAft>
                <a:spcPts val="400"/>
              </a:spcAft>
              <a:buNone/>
            </a:pPr>
            <a:r>
              <a:rPr lang="de-CH" sz="1600" dirty="0">
                <a:hlinkClick r:id="rId3"/>
              </a:rPr>
              <a:t>Environmental Performance Index </a:t>
            </a:r>
            <a:r>
              <a:rPr lang="de-CH" sz="1600" dirty="0"/>
              <a:t>(Wikipedia)</a:t>
            </a:r>
          </a:p>
          <a:p>
            <a:endParaRPr lang="de-CH" dirty="0"/>
          </a:p>
        </p:txBody>
      </p:sp>
      <p:sp>
        <p:nvSpPr>
          <p:cNvPr id="4" name="Slide Number Placeholder 3">
            <a:extLst>
              <a:ext uri="{FF2B5EF4-FFF2-40B4-BE49-F238E27FC236}">
                <a16:creationId xmlns:a16="http://schemas.microsoft.com/office/drawing/2014/main" id="{51A4BCA1-8B87-98AE-B980-E21DAF7F137F}"/>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AE57AA9A-49EB-E4FA-CEDE-BADE729AD9E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008454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Agriculture and Nutrition</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378960" y="1808163"/>
            <a:ext cx="7333615" cy="4213225"/>
          </a:xfrm>
        </p:spPr>
        <p:txBody>
          <a:bodyPr/>
          <a:lstStyle/>
          <a:p>
            <a:pPr marL="0" indent="0">
              <a:buNone/>
            </a:pPr>
            <a:r>
              <a:rPr lang="de-CH" dirty="0"/>
              <a:t>«</a:t>
            </a:r>
            <a:r>
              <a:rPr lang="en-US" dirty="0"/>
              <a:t>Concepts such as </a:t>
            </a:r>
            <a:r>
              <a:rPr lang="en-US" b="1" dirty="0"/>
              <a:t>“ecosystem services” </a:t>
            </a:r>
            <a:r>
              <a:rPr lang="en-US" dirty="0"/>
              <a:t>have shown that the agricultural sector also performs important functions outside the market. National Research </a:t>
            </a:r>
            <a:r>
              <a:rPr lang="en-US" dirty="0" err="1"/>
              <a:t>Programme</a:t>
            </a:r>
            <a:r>
              <a:rPr lang="en-US" dirty="0"/>
              <a:t> 73 now makes clear that these deep-rooted problems can only be solved through a </a:t>
            </a:r>
            <a:r>
              <a:rPr lang="en-US" b="1" dirty="0"/>
              <a:t>systemic “just transition.”</a:t>
            </a:r>
            <a:r>
              <a:rPr lang="de-CH" dirty="0"/>
              <a:t> »</a:t>
            </a:r>
          </a:p>
          <a:p>
            <a:pPr marL="0" indent="0">
              <a:buNone/>
            </a:pPr>
            <a:endParaRPr lang="de-CH" b="1" dirty="0"/>
          </a:p>
          <a:p>
            <a:pPr marL="0" indent="0" algn="r">
              <a:buNone/>
            </a:pPr>
            <a:r>
              <a:rPr lang="de-DE" dirty="0"/>
              <a:t>NFP73, </a:t>
            </a:r>
            <a:r>
              <a:rPr lang="de-CH" dirty="0"/>
              <a:t>Agriculture and Nutrition</a:t>
            </a:r>
            <a:endParaRPr lang="de-DE" dirty="0"/>
          </a:p>
          <a:p>
            <a:pPr marL="0" indent="0" algn="r">
              <a:buNone/>
            </a:pPr>
            <a:br>
              <a:rPr lang="de-DE" dirty="0"/>
            </a:br>
            <a:endParaRPr lang="de-DE" dirty="0"/>
          </a:p>
          <a:p>
            <a:pPr marL="0" indent="0" algn="r">
              <a:buNone/>
            </a:pPr>
            <a:endParaRPr lang="de-DE" dirty="0"/>
          </a:p>
          <a:p>
            <a:pPr marL="0" indent="0">
              <a:buNone/>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6" name="object 4">
            <a:extLst>
              <a:ext uri="{FF2B5EF4-FFF2-40B4-BE49-F238E27FC236}">
                <a16:creationId xmlns:a16="http://schemas.microsoft.com/office/drawing/2014/main" id="{C42F8177-90B6-5BE2-7279-30412F5EBDEA}"/>
              </a:ext>
            </a:extLst>
          </p:cNvPr>
          <p:cNvPicPr/>
          <p:nvPr/>
        </p:nvPicPr>
        <p:blipFill>
          <a:blip r:embed="rId2" cstate="print"/>
          <a:stretch>
            <a:fillRect/>
          </a:stretch>
        </p:blipFill>
        <p:spPr>
          <a:xfrm>
            <a:off x="606374" y="1885218"/>
            <a:ext cx="2594026" cy="3886810"/>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2E083B8-FA8D-130C-D478-154E7C7B8207}"/>
              </a:ext>
            </a:extLst>
          </p:cNvPr>
          <p:cNvGraphicFramePr>
            <a:graphicFrameLocks noChangeAspect="1"/>
          </p:cNvGraphicFramePr>
          <p:nvPr>
            <p:custDataLst>
              <p:tags r:id="rId1"/>
            </p:custDataLst>
            <p:extLst>
              <p:ext uri="{D42A27DB-BD31-4B8C-83A1-F6EECF244321}">
                <p14:modId xmlns:p14="http://schemas.microsoft.com/office/powerpoint/2010/main" val="33976358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F2E083B8-FA8D-130C-D478-154E7C7B82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E3E6E0-3E5D-2C57-33BD-439013C2ACCF}"/>
              </a:ext>
            </a:extLst>
          </p:cNvPr>
          <p:cNvSpPr>
            <a:spLocks noGrp="1"/>
          </p:cNvSpPr>
          <p:nvPr>
            <p:ph type="title"/>
          </p:nvPr>
        </p:nvSpPr>
        <p:spPr/>
        <p:txBody>
          <a:bodyPr vert="horz"/>
          <a:lstStyle/>
          <a:p>
            <a:r>
              <a:rPr lang="en-US" dirty="0"/>
              <a:t>Interaction of economy and ecology in Swiss farms</a:t>
            </a:r>
            <a:endParaRPr lang="de-CH" dirty="0"/>
          </a:p>
        </p:txBody>
      </p:sp>
      <p:sp>
        <p:nvSpPr>
          <p:cNvPr id="3" name="Slide Number Placeholder 2">
            <a:extLst>
              <a:ext uri="{FF2B5EF4-FFF2-40B4-BE49-F238E27FC236}">
                <a16:creationId xmlns:a16="http://schemas.microsoft.com/office/drawing/2014/main" id="{359BFE41-78F6-9AB7-D783-C28B88529B1D}"/>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4" name="Text Placeholder 3">
            <a:extLst>
              <a:ext uri="{FF2B5EF4-FFF2-40B4-BE49-F238E27FC236}">
                <a16:creationId xmlns:a16="http://schemas.microsoft.com/office/drawing/2014/main" id="{A5C0D977-60D2-86E5-9094-25A1EFAF7E3C}"/>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917D8D2-426C-BADF-D20E-8EC44887EDD2}"/>
              </a:ext>
            </a:extLst>
          </p:cNvPr>
          <p:cNvSpPr>
            <a:spLocks noGrp="1"/>
          </p:cNvSpPr>
          <p:nvPr>
            <p:ph type="body" sz="quarter" idx="13"/>
          </p:nvPr>
        </p:nvSpPr>
        <p:spPr>
          <a:xfrm>
            <a:off x="479425" y="2565400"/>
            <a:ext cx="5710360" cy="3455988"/>
          </a:xfrm>
        </p:spPr>
        <p:txBody>
          <a:bodyPr/>
          <a:lstStyle/>
          <a:p>
            <a:r>
              <a:rPr lang="en-US" dirty="0"/>
              <a:t>Most </a:t>
            </a:r>
            <a:r>
              <a:rPr lang="en-US" b="1" dirty="0"/>
              <a:t>farms </a:t>
            </a:r>
            <a:r>
              <a:rPr lang="en-US" dirty="0"/>
              <a:t>do </a:t>
            </a:r>
            <a:r>
              <a:rPr lang="en-US" b="1" dirty="0"/>
              <a:t>not focus </a:t>
            </a:r>
            <a:r>
              <a:rPr lang="en-US" dirty="0"/>
              <a:t>on a single product but instead operate </a:t>
            </a:r>
            <a:r>
              <a:rPr lang="en-US" b="1" dirty="0"/>
              <a:t>several branches of activity</a:t>
            </a:r>
            <a:r>
              <a:rPr lang="en-US" dirty="0"/>
              <a:t>. For example, they keep dairy cows and grow wheat and potatoes in their fields. Many decisions are made at the level of individual farm enterprises—such as the intensity of fertilization in crop production or the targeted milk yield. From both an </a:t>
            </a:r>
            <a:r>
              <a:rPr lang="en-US" b="1" dirty="0"/>
              <a:t>ecological</a:t>
            </a:r>
            <a:r>
              <a:rPr lang="en-US" dirty="0"/>
              <a:t> and an </a:t>
            </a:r>
            <a:r>
              <a:rPr lang="en-US" b="1" dirty="0"/>
              <a:t>economic </a:t>
            </a:r>
            <a:r>
              <a:rPr lang="en-US" dirty="0"/>
              <a:t>perspective, it is important to better understand what exactly is happening </a:t>
            </a:r>
            <a:r>
              <a:rPr lang="en-US" b="1" dirty="0"/>
              <a:t>at the level of these farm enterprises</a:t>
            </a:r>
            <a:r>
              <a:rPr lang="en-US" dirty="0"/>
              <a:t>.</a:t>
            </a:r>
            <a:endParaRPr lang="en-GB" dirty="0"/>
          </a:p>
          <a:p>
            <a:endParaRPr lang="de-CH" dirty="0"/>
          </a:p>
        </p:txBody>
      </p:sp>
      <p:sp>
        <p:nvSpPr>
          <p:cNvPr id="6" name="Text Placeholder 5">
            <a:extLst>
              <a:ext uri="{FF2B5EF4-FFF2-40B4-BE49-F238E27FC236}">
                <a16:creationId xmlns:a16="http://schemas.microsoft.com/office/drawing/2014/main" id="{201AB212-6CA7-2CE2-C049-D103A88DAEF2}"/>
              </a:ext>
            </a:extLst>
          </p:cNvPr>
          <p:cNvSpPr>
            <a:spLocks noGrp="1"/>
          </p:cNvSpPr>
          <p:nvPr>
            <p:ph type="body" sz="quarter" idx="12"/>
          </p:nvPr>
        </p:nvSpPr>
        <p:spPr>
          <a:xfrm>
            <a:off x="479425" y="1808163"/>
            <a:ext cx="5710364" cy="587375"/>
          </a:xfrm>
        </p:spPr>
        <p:txBody>
          <a:bodyPr/>
          <a:lstStyle/>
          <a:p>
            <a:r>
              <a:rPr lang="de-CH" dirty="0"/>
              <a:t>Background</a:t>
            </a:r>
          </a:p>
        </p:txBody>
      </p:sp>
      <p:sp>
        <p:nvSpPr>
          <p:cNvPr id="8" name="Footer Placeholder 7">
            <a:extLst>
              <a:ext uri="{FF2B5EF4-FFF2-40B4-BE49-F238E27FC236}">
                <a16:creationId xmlns:a16="http://schemas.microsoft.com/office/drawing/2014/main" id="{3DA7137E-F1F8-2C16-1846-73E993992E03}"/>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
        <p:nvSpPr>
          <p:cNvPr id="9" name="Text Placeholder 8">
            <a:extLst>
              <a:ext uri="{FF2B5EF4-FFF2-40B4-BE49-F238E27FC236}">
                <a16:creationId xmlns:a16="http://schemas.microsoft.com/office/drawing/2014/main" id="{9F46E6CF-5885-9310-3FAF-2D236A5B1628}"/>
              </a:ext>
            </a:extLst>
          </p:cNvPr>
          <p:cNvSpPr>
            <a:spLocks noGrp="1"/>
          </p:cNvSpPr>
          <p:nvPr>
            <p:ph type="body" sz="quarter" idx="18"/>
          </p:nvPr>
        </p:nvSpPr>
        <p:spPr>
          <a:xfrm>
            <a:off x="6374423" y="2565400"/>
            <a:ext cx="5338150" cy="3455988"/>
          </a:xfrm>
        </p:spPr>
        <p:txBody>
          <a:bodyPr/>
          <a:lstStyle/>
          <a:p>
            <a:r>
              <a:rPr lang="en-US"/>
              <a:t>In the project, we examine whether—at the level of farm enterprises—there is a positive, negative, or even no relationship between </a:t>
            </a:r>
            <a:r>
              <a:rPr lang="en-US" b="1"/>
              <a:t>profitability</a:t>
            </a:r>
            <a:r>
              <a:rPr lang="en-US"/>
              <a:t> and </a:t>
            </a:r>
            <a:r>
              <a:rPr lang="en-US" b="1"/>
              <a:t>environmental impacts</a:t>
            </a:r>
            <a:r>
              <a:rPr lang="en-US"/>
              <a:t>. We also analyze which characteristics of a farm influence its economic and ecological performance. Finally, we determine the </a:t>
            </a:r>
            <a:r>
              <a:rPr lang="en-US" b="1"/>
              <a:t>potential for saving natural resources</a:t>
            </a:r>
            <a:r>
              <a:rPr lang="en-US"/>
              <a:t> while </a:t>
            </a:r>
            <a:r>
              <a:rPr lang="en-US" b="1"/>
              <a:t>simultaneously increasing farm efficiency.</a:t>
            </a:r>
            <a:endParaRPr lang="en-GB" b="1"/>
          </a:p>
          <a:p>
            <a:endParaRPr lang="de-CH" dirty="0"/>
          </a:p>
        </p:txBody>
      </p:sp>
      <p:sp>
        <p:nvSpPr>
          <p:cNvPr id="10" name="Text Placeholder 9">
            <a:extLst>
              <a:ext uri="{FF2B5EF4-FFF2-40B4-BE49-F238E27FC236}">
                <a16:creationId xmlns:a16="http://schemas.microsoft.com/office/drawing/2014/main" id="{79504E93-3859-78F0-4A53-F4EEC128C4EC}"/>
              </a:ext>
            </a:extLst>
          </p:cNvPr>
          <p:cNvSpPr>
            <a:spLocks noGrp="1"/>
          </p:cNvSpPr>
          <p:nvPr>
            <p:ph type="body" sz="quarter" idx="19"/>
          </p:nvPr>
        </p:nvSpPr>
        <p:spPr>
          <a:xfrm>
            <a:off x="6374423" y="1808163"/>
            <a:ext cx="5338153" cy="587375"/>
          </a:xfrm>
        </p:spPr>
        <p:txBody>
          <a:bodyPr/>
          <a:lstStyle/>
          <a:p>
            <a:r>
              <a:rPr lang="de-CH" dirty="0" err="1"/>
              <a:t>Aim</a:t>
            </a:r>
            <a:endParaRPr lang="de-CH" dirty="0"/>
          </a:p>
        </p:txBody>
      </p:sp>
    </p:spTree>
    <p:extLst>
      <p:ext uri="{BB962C8B-B14F-4D97-AF65-F5344CB8AC3E}">
        <p14:creationId xmlns:p14="http://schemas.microsoft.com/office/powerpoint/2010/main" val="714092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33DA88-65F9-8121-08ED-F063DA616C03}"/>
              </a:ext>
            </a:extLst>
          </p:cNvPr>
          <p:cNvGraphicFramePr>
            <a:graphicFrameLocks noChangeAspect="1"/>
          </p:cNvGraphicFramePr>
          <p:nvPr>
            <p:custDataLst>
              <p:tags r:id="rId1"/>
            </p:custDataLst>
            <p:extLst>
              <p:ext uri="{D42A27DB-BD31-4B8C-83A1-F6EECF244321}">
                <p14:modId xmlns:p14="http://schemas.microsoft.com/office/powerpoint/2010/main" val="25180104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633DA88-65F9-8121-08ED-F063DA616C0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EDDFE1-568A-487C-AC94-89C86085CDA8}"/>
              </a:ext>
            </a:extLst>
          </p:cNvPr>
          <p:cNvSpPr>
            <a:spLocks noGrp="1"/>
          </p:cNvSpPr>
          <p:nvPr>
            <p:ph type="title"/>
          </p:nvPr>
        </p:nvSpPr>
        <p:spPr/>
        <p:txBody>
          <a:bodyPr vert="horz"/>
          <a:lstStyle/>
          <a:p>
            <a:r>
              <a:rPr lang="en-US" dirty="0"/>
              <a:t>Interaction of economy and ecology in Swiss farms – </a:t>
            </a:r>
            <a:r>
              <a:rPr lang="de-CH" dirty="0" err="1"/>
              <a:t>Results</a:t>
            </a:r>
            <a:r>
              <a:rPr lang="de-CH" dirty="0"/>
              <a:t> I</a:t>
            </a:r>
          </a:p>
        </p:txBody>
      </p:sp>
      <p:sp>
        <p:nvSpPr>
          <p:cNvPr id="3" name="Text Placeholder 2">
            <a:extLst>
              <a:ext uri="{FF2B5EF4-FFF2-40B4-BE49-F238E27FC236}">
                <a16:creationId xmlns:a16="http://schemas.microsoft.com/office/drawing/2014/main" id="{7105423F-1CB0-AF7C-0E32-B2903BDB4CF0}"/>
              </a:ext>
            </a:extLst>
          </p:cNvPr>
          <p:cNvSpPr>
            <a:spLocks noGrp="1"/>
          </p:cNvSpPr>
          <p:nvPr>
            <p:ph type="body" sz="quarter" idx="13"/>
          </p:nvPr>
        </p:nvSpPr>
        <p:spPr/>
        <p:txBody>
          <a:bodyPr/>
          <a:lstStyle/>
          <a:p>
            <a:pPr marL="0" indent="0">
              <a:buNone/>
            </a:pPr>
            <a:r>
              <a:rPr lang="en-US" b="1" dirty="0"/>
              <a:t>Differences in environmental efficiency and economic performance by product group and region</a:t>
            </a:r>
            <a:endParaRPr lang="en-US" dirty="0"/>
          </a:p>
          <a:p>
            <a:r>
              <a:rPr lang="en-US" dirty="0"/>
              <a:t>The analysis produced very different results, both for economic performance and environmental efficiency, and both between and within the examined product groups (milk, beef, cereals, sugar beets, and potatoes). The differences within individual product groups are mainly attributable to the production region (lowland, hill, or mountain zone) and the production method (organic farming or Proof of Ecological Performance). The production region had the greatest influence. The highest environmental efficiency was found in lowland production, where Switzerland has the most favorable conditions for agriculture, followed by hill and mountain zones.</a:t>
            </a:r>
          </a:p>
          <a:p>
            <a:endParaRPr lang="de-CH" dirty="0"/>
          </a:p>
        </p:txBody>
      </p:sp>
      <p:sp>
        <p:nvSpPr>
          <p:cNvPr id="4" name="Slide Number Placeholder 3">
            <a:extLst>
              <a:ext uri="{FF2B5EF4-FFF2-40B4-BE49-F238E27FC236}">
                <a16:creationId xmlns:a16="http://schemas.microsoft.com/office/drawing/2014/main" id="{0EF45941-AAB1-B821-EF05-C02895F12847}"/>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449A5E4-3791-6D0F-72E1-6B918DEACAE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018551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59B4E-1F14-7F44-635C-D37A9A1DF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96D070-3482-2245-96BC-15F81320D7A7}"/>
              </a:ext>
            </a:extLst>
          </p:cNvPr>
          <p:cNvGraphicFramePr>
            <a:graphicFrameLocks noChangeAspect="1"/>
          </p:cNvGraphicFramePr>
          <p:nvPr>
            <p:custDataLst>
              <p:tags r:id="rId1"/>
            </p:custDataLst>
            <p:extLst>
              <p:ext uri="{D42A27DB-BD31-4B8C-83A1-F6EECF244321}">
                <p14:modId xmlns:p14="http://schemas.microsoft.com/office/powerpoint/2010/main" val="7296657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396D070-3482-2245-96BC-15F81320D7A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9B644F-F878-4E4A-C5A8-8F671492B027}"/>
              </a:ext>
            </a:extLst>
          </p:cNvPr>
          <p:cNvSpPr>
            <a:spLocks noGrp="1"/>
          </p:cNvSpPr>
          <p:nvPr>
            <p:ph type="title"/>
          </p:nvPr>
        </p:nvSpPr>
        <p:spPr/>
        <p:txBody>
          <a:bodyPr vert="horz"/>
          <a:lstStyle/>
          <a:p>
            <a:r>
              <a:rPr lang="en-US" dirty="0"/>
              <a:t>Interaction of economy and ecology in Swiss farms – </a:t>
            </a:r>
            <a:r>
              <a:rPr lang="de-CH" dirty="0" err="1"/>
              <a:t>Results</a:t>
            </a:r>
            <a:r>
              <a:rPr lang="de-CH" dirty="0"/>
              <a:t> II</a:t>
            </a:r>
          </a:p>
        </p:txBody>
      </p:sp>
      <p:sp>
        <p:nvSpPr>
          <p:cNvPr id="3" name="Text Placeholder 2">
            <a:extLst>
              <a:ext uri="{FF2B5EF4-FFF2-40B4-BE49-F238E27FC236}">
                <a16:creationId xmlns:a16="http://schemas.microsoft.com/office/drawing/2014/main" id="{066E3C68-9F97-B666-6AC4-F5802010002C}"/>
              </a:ext>
            </a:extLst>
          </p:cNvPr>
          <p:cNvSpPr>
            <a:spLocks noGrp="1"/>
          </p:cNvSpPr>
          <p:nvPr>
            <p:ph type="body" sz="quarter" idx="13"/>
          </p:nvPr>
        </p:nvSpPr>
        <p:spPr/>
        <p:txBody>
          <a:bodyPr/>
          <a:lstStyle/>
          <a:p>
            <a:pPr marL="0" indent="0">
              <a:buNone/>
            </a:pPr>
            <a:r>
              <a:rPr lang="en-US" b="1" dirty="0"/>
              <a:t>Differences by production systems</a:t>
            </a:r>
            <a:endParaRPr lang="en-US" dirty="0"/>
          </a:p>
          <a:p>
            <a:r>
              <a:rPr lang="en-US" dirty="0"/>
              <a:t>The differences between the two production systems—Organic farming and the Proof of Ecological Performance (PEP)—were less pronounced, with organic management showing slightly higher environmental efficiency than PEP management. For cereals, however, environmental efficiency under PEP was higher than under organic production. This can partly be explained by the relatively high share of Extenso farms, which do not use pesticides, insecticides, or fungicides. Overall, only minor differences between the production systems were observed.</a:t>
            </a:r>
          </a:p>
          <a:p>
            <a:endParaRPr lang="de-CH" dirty="0"/>
          </a:p>
        </p:txBody>
      </p:sp>
      <p:sp>
        <p:nvSpPr>
          <p:cNvPr id="4" name="Slide Number Placeholder 3">
            <a:extLst>
              <a:ext uri="{FF2B5EF4-FFF2-40B4-BE49-F238E27FC236}">
                <a16:creationId xmlns:a16="http://schemas.microsoft.com/office/drawing/2014/main" id="{C2F749BE-72DF-8173-FBCB-EE83149C80FB}"/>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5502FA93-9D78-B69C-2EC2-991A1C68249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64999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8D331-B6C3-1B07-A115-FA4E08062F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8A6B5-5E78-0841-7D01-65990546E20B}"/>
              </a:ext>
            </a:extLst>
          </p:cNvPr>
          <p:cNvGraphicFramePr>
            <a:graphicFrameLocks noChangeAspect="1"/>
          </p:cNvGraphicFramePr>
          <p:nvPr>
            <p:custDataLst>
              <p:tags r:id="rId1"/>
            </p:custDataLst>
            <p:extLst>
              <p:ext uri="{D42A27DB-BD31-4B8C-83A1-F6EECF244321}">
                <p14:modId xmlns:p14="http://schemas.microsoft.com/office/powerpoint/2010/main" val="39533047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908A6B5-5E78-0841-7D01-65990546E2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71BFE-071B-04BF-E88D-8D2512E5C71A}"/>
              </a:ext>
            </a:extLst>
          </p:cNvPr>
          <p:cNvSpPr>
            <a:spLocks noGrp="1"/>
          </p:cNvSpPr>
          <p:nvPr>
            <p:ph type="title"/>
          </p:nvPr>
        </p:nvSpPr>
        <p:spPr/>
        <p:txBody>
          <a:bodyPr vert="horz"/>
          <a:lstStyle/>
          <a:p>
            <a:r>
              <a:rPr lang="en-US" dirty="0"/>
              <a:t>Interaction of economy and ecology in Swiss farms – </a:t>
            </a:r>
            <a:r>
              <a:rPr lang="de-CH" dirty="0" err="1"/>
              <a:t>Results</a:t>
            </a:r>
            <a:r>
              <a:rPr lang="de-CH" dirty="0"/>
              <a:t> III</a:t>
            </a:r>
          </a:p>
        </p:txBody>
      </p:sp>
      <p:sp>
        <p:nvSpPr>
          <p:cNvPr id="3" name="Text Placeholder 2">
            <a:extLst>
              <a:ext uri="{FF2B5EF4-FFF2-40B4-BE49-F238E27FC236}">
                <a16:creationId xmlns:a16="http://schemas.microsoft.com/office/drawing/2014/main" id="{D99EE32F-79DB-82F0-33C8-02BD14BFD04B}"/>
              </a:ext>
            </a:extLst>
          </p:cNvPr>
          <p:cNvSpPr>
            <a:spLocks noGrp="1"/>
          </p:cNvSpPr>
          <p:nvPr>
            <p:ph type="body" sz="quarter" idx="13"/>
          </p:nvPr>
        </p:nvSpPr>
        <p:spPr/>
        <p:txBody>
          <a:bodyPr/>
          <a:lstStyle/>
          <a:p>
            <a:pPr marL="0" indent="0">
              <a:buNone/>
            </a:pPr>
            <a:r>
              <a:rPr lang="en-US" b="1" dirty="0"/>
              <a:t>No trade-offs between environmental efficiency and economic performance</a:t>
            </a:r>
            <a:endParaRPr lang="en-US" dirty="0"/>
          </a:p>
          <a:p>
            <a:r>
              <a:rPr lang="en-US" dirty="0"/>
              <a:t>The income analysis for family members working on the farm produced very different results, both between and within product groups. Particularly in the animal-product groups milk and beef, there were cases of negative income per unit produced. Switching to arable farming would be expected to improve environmental efficiency.</a:t>
            </a:r>
          </a:p>
          <a:p>
            <a:r>
              <a:rPr lang="en-US" dirty="0"/>
              <a:t>The analysis of the correlation between environmental efficiency and economic performance within individual product groups found no evidence of trade-offs. On the contrary, there are significant indications that for the product groups milk and beef, farms with above-median environmental efficiency are also more likely to have above-median economic performance.</a:t>
            </a:r>
          </a:p>
          <a:p>
            <a:endParaRPr lang="de-CH" dirty="0"/>
          </a:p>
        </p:txBody>
      </p:sp>
      <p:sp>
        <p:nvSpPr>
          <p:cNvPr id="4" name="Slide Number Placeholder 3">
            <a:extLst>
              <a:ext uri="{FF2B5EF4-FFF2-40B4-BE49-F238E27FC236}">
                <a16:creationId xmlns:a16="http://schemas.microsoft.com/office/drawing/2014/main" id="{32A4B4EF-54F9-5728-7227-E9E270CD3D54}"/>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05829DF1-2340-F834-A5ED-59D781BECB8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59408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8203-344C-0809-EC9E-A5037D92BC11}"/>
              </a:ext>
            </a:extLst>
          </p:cNvPr>
          <p:cNvSpPr>
            <a:spLocks noGrp="1"/>
          </p:cNvSpPr>
          <p:nvPr>
            <p:ph type="title"/>
          </p:nvPr>
        </p:nvSpPr>
        <p:spPr/>
        <p:txBody>
          <a:bodyPr/>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endParaRPr lang="de-CH" dirty="0"/>
          </a:p>
        </p:txBody>
      </p:sp>
      <p:sp>
        <p:nvSpPr>
          <p:cNvPr id="3" name="Text Placeholder 2">
            <a:extLst>
              <a:ext uri="{FF2B5EF4-FFF2-40B4-BE49-F238E27FC236}">
                <a16:creationId xmlns:a16="http://schemas.microsoft.com/office/drawing/2014/main" id="{85167E08-5CF8-E24A-92D6-6CE7AA4A474F}"/>
              </a:ext>
            </a:extLst>
          </p:cNvPr>
          <p:cNvSpPr>
            <a:spLocks noGrp="1"/>
          </p:cNvSpPr>
          <p:nvPr>
            <p:ph type="body" sz="quarter" idx="13"/>
          </p:nvPr>
        </p:nvSpPr>
        <p:spPr>
          <a:xfrm>
            <a:off x="479424" y="1808163"/>
            <a:ext cx="4676469" cy="4213225"/>
          </a:xfrm>
        </p:spPr>
        <p:txBody>
          <a:bodyPr/>
          <a:lstStyle/>
          <a:p>
            <a:pPr marL="0" indent="0">
              <a:buNone/>
            </a:pPr>
            <a:r>
              <a:rPr lang="de-CH" dirty="0"/>
              <a:t>«</a:t>
            </a:r>
            <a:r>
              <a:rPr lang="en-US" dirty="0"/>
              <a:t>New information and communication technologies have the potential to reduce the ecological footprint of Swiss agriculture without restricting food production. To realize the potential of precision agriculture, political support is needed, among other things</a:t>
            </a:r>
            <a:r>
              <a:rPr lang="de-CH" dirty="0"/>
              <a:t>.»</a:t>
            </a:r>
          </a:p>
          <a:p>
            <a:pPr marL="0" indent="0">
              <a:buNone/>
            </a:pPr>
            <a:endParaRPr lang="de-CH" dirty="0"/>
          </a:p>
          <a:p>
            <a:pPr algn="r"/>
            <a:r>
              <a:rPr lang="de-CH" dirty="0"/>
              <a:t>Prof. Dr. Robert Finger, Project </a:t>
            </a:r>
            <a:r>
              <a:rPr lang="de-CH" dirty="0" err="1"/>
              <a:t>lead</a:t>
            </a:r>
            <a:r>
              <a:rPr lang="de-CH" dirty="0"/>
              <a:t>, 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r>
              <a:rPr lang="de-CH" dirty="0"/>
              <a:t> </a:t>
            </a: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E44C9F6F-350F-235D-6F70-4FC8A1137361}"/>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04CF1D97-0AFB-22E6-D647-780E16D530C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n orange airplane in a grassy area&#10;&#10;AI-generated content may be incorrect.">
            <a:extLst>
              <a:ext uri="{FF2B5EF4-FFF2-40B4-BE49-F238E27FC236}">
                <a16:creationId xmlns:a16="http://schemas.microsoft.com/office/drawing/2014/main" id="{CE48C80D-23DF-EC43-9E06-B4EFFE9327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2164" y="1643258"/>
            <a:ext cx="6859836" cy="4279565"/>
          </a:xfrm>
          <a:prstGeom prst="rect">
            <a:avLst/>
          </a:prstGeom>
        </p:spPr>
      </p:pic>
    </p:spTree>
    <p:extLst>
      <p:ext uri="{BB962C8B-B14F-4D97-AF65-F5344CB8AC3E}">
        <p14:creationId xmlns:p14="http://schemas.microsoft.com/office/powerpoint/2010/main" val="10467518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6DF3F-530F-BA46-60BB-9B7DCE48DD76}"/>
              </a:ext>
            </a:extLst>
          </p:cNvPr>
          <p:cNvSpPr>
            <a:spLocks noGrp="1"/>
          </p:cNvSpPr>
          <p:nvPr>
            <p:ph type="title"/>
          </p:nvPr>
        </p:nvSpPr>
        <p:spPr/>
        <p:txBody>
          <a:bodyPr/>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r>
              <a:rPr lang="de-CH" dirty="0"/>
              <a:t> - </a:t>
            </a:r>
            <a:r>
              <a:rPr lang="de-CH" dirty="0" err="1"/>
              <a:t>Assignments</a:t>
            </a:r>
            <a:endParaRPr lang="de-CH" dirty="0"/>
          </a:p>
        </p:txBody>
      </p:sp>
      <p:sp>
        <p:nvSpPr>
          <p:cNvPr id="3" name="Text Placeholder 2">
            <a:extLst>
              <a:ext uri="{FF2B5EF4-FFF2-40B4-BE49-F238E27FC236}">
                <a16:creationId xmlns:a16="http://schemas.microsoft.com/office/drawing/2014/main" id="{5DA69535-512D-261C-A323-8A0262DC8AF8}"/>
              </a:ext>
            </a:extLst>
          </p:cNvPr>
          <p:cNvSpPr>
            <a:spLocks noGrp="1"/>
          </p:cNvSpPr>
          <p:nvPr>
            <p:ph type="body" sz="quarter" idx="13"/>
          </p:nvPr>
        </p:nvSpPr>
        <p:spPr/>
        <p:txBody>
          <a:bodyPr/>
          <a:lstStyle/>
          <a:p>
            <a:pPr marL="342900" indent="-342900">
              <a:buFont typeface="+mj-lt"/>
              <a:buAutoNum type="arabicPeriod"/>
            </a:pPr>
            <a:r>
              <a:rPr lang="en-US" dirty="0"/>
              <a:t>What main problems does Swiss agriculture cause?</a:t>
            </a:r>
          </a:p>
          <a:p>
            <a:pPr marL="342900" indent="-342900">
              <a:buFont typeface="+mj-lt"/>
              <a:buAutoNum type="arabicPeriod"/>
            </a:pPr>
            <a:r>
              <a:rPr lang="en-US" dirty="0"/>
              <a:t>Which technical means can be used to reduce nitrogen inputs in agriculture?</a:t>
            </a:r>
          </a:p>
          <a:p>
            <a:pPr marL="342900" indent="-342900">
              <a:buFont typeface="+mj-lt"/>
              <a:buAutoNum type="arabicPeriod"/>
            </a:pPr>
            <a:r>
              <a:rPr lang="en-US" dirty="0"/>
              <a:t>What does “precision agriculture” mean, and what does “smart farming” mean?</a:t>
            </a:r>
          </a:p>
          <a:p>
            <a:pPr marL="342900" indent="-342900">
              <a:buFont typeface="+mj-lt"/>
              <a:buAutoNum type="arabicPeriod"/>
            </a:pPr>
            <a:r>
              <a:rPr lang="en-US" dirty="0"/>
              <a:t>What influences demand for agricultural precision technologies?</a:t>
            </a:r>
          </a:p>
          <a:p>
            <a:pPr marL="342900" indent="-342900">
              <a:buFont typeface="+mj-lt"/>
              <a:buAutoNum type="arabicPeriod"/>
            </a:pPr>
            <a:r>
              <a:rPr lang="en-US" dirty="0"/>
              <a:t>Which approaches can be used to promote digital innovations in agriculture?</a:t>
            </a:r>
          </a:p>
          <a:p>
            <a:endParaRPr lang="de-CH" dirty="0"/>
          </a:p>
          <a:p>
            <a:endParaRPr lang="de-CH" dirty="0"/>
          </a:p>
          <a:p>
            <a:pPr marL="0" indent="0">
              <a:lnSpc>
                <a:spcPct val="107000"/>
              </a:lnSpc>
              <a:spcAft>
                <a:spcPts val="400"/>
              </a:spcAft>
              <a:buNone/>
            </a:pPr>
            <a:r>
              <a:rPr lang="de-CH" b="1" dirty="0"/>
              <a:t>Source </a:t>
            </a:r>
            <a:r>
              <a:rPr lang="de-CH" b="1" dirty="0" err="1"/>
              <a:t>of</a:t>
            </a:r>
            <a:r>
              <a:rPr lang="de-CH" b="1" dirty="0"/>
              <a:t> </a:t>
            </a:r>
            <a:r>
              <a:rPr lang="de-CH" b="1" dirty="0" err="1"/>
              <a:t>knowledge</a:t>
            </a:r>
            <a:r>
              <a:rPr lang="de-CH" b="1" dirty="0"/>
              <a:t> </a:t>
            </a:r>
          </a:p>
          <a:p>
            <a:pPr marL="0" indent="0">
              <a:lnSpc>
                <a:spcPct val="107000"/>
              </a:lnSpc>
              <a:spcAft>
                <a:spcPts val="400"/>
              </a:spcAft>
              <a:buNone/>
            </a:pPr>
            <a:r>
              <a:rPr lang="de-CH" dirty="0">
                <a:hlinkClick r:id="rId2"/>
              </a:rPr>
              <a:t>Digital </a:t>
            </a:r>
            <a:r>
              <a:rPr lang="de-CH" dirty="0" err="1">
                <a:hlinkClick r:id="rId2"/>
              </a:rPr>
              <a:t>innovations</a:t>
            </a:r>
            <a:r>
              <a:rPr lang="de-CH" dirty="0">
                <a:hlinkClick r:id="rId2"/>
              </a:rPr>
              <a:t> </a:t>
            </a:r>
            <a:r>
              <a:rPr lang="de-CH" dirty="0" err="1">
                <a:hlinkClick r:id="rId2"/>
              </a:rPr>
              <a:t>for</a:t>
            </a:r>
            <a:r>
              <a:rPr lang="de-CH" dirty="0">
                <a:hlinkClick r:id="rId2"/>
              </a:rPr>
              <a:t> </a:t>
            </a:r>
            <a:r>
              <a:rPr lang="de-CH" dirty="0" err="1">
                <a:hlinkClick r:id="rId2"/>
              </a:rPr>
              <a:t>sustainable</a:t>
            </a:r>
            <a:r>
              <a:rPr lang="de-CH" dirty="0">
                <a:hlinkClick r:id="rId2"/>
              </a:rPr>
              <a:t> </a:t>
            </a:r>
            <a:r>
              <a:rPr lang="de-CH" dirty="0" err="1">
                <a:hlinkClick r:id="rId2"/>
              </a:rPr>
              <a:t>agriculture</a:t>
            </a:r>
            <a:r>
              <a:rPr lang="de-CH" dirty="0">
                <a:hlinkClick r:id="rId2"/>
              </a:rPr>
              <a:t> </a:t>
            </a:r>
            <a:r>
              <a:rPr lang="de-CH" sz="1800" dirty="0"/>
              <a:t>(Website NFP 73)</a:t>
            </a:r>
          </a:p>
          <a:p>
            <a:pPr marL="0" indent="0">
              <a:lnSpc>
                <a:spcPct val="107000"/>
              </a:lnSpc>
              <a:spcAft>
                <a:spcPts val="400"/>
              </a:spcAft>
              <a:buNone/>
            </a:pPr>
            <a:r>
              <a:rPr lang="de-CH" dirty="0">
                <a:hlinkClick r:id="rId3"/>
              </a:rPr>
              <a:t>Digital </a:t>
            </a:r>
            <a:r>
              <a:rPr lang="de-CH" dirty="0" err="1">
                <a:hlinkClick r:id="rId3"/>
              </a:rPr>
              <a:t>innovations</a:t>
            </a:r>
            <a:r>
              <a:rPr lang="de-CH" dirty="0">
                <a:hlinkClick r:id="rId3"/>
              </a:rPr>
              <a:t> </a:t>
            </a:r>
            <a:r>
              <a:rPr lang="de-CH" dirty="0" err="1">
                <a:hlinkClick r:id="rId3"/>
              </a:rPr>
              <a:t>for</a:t>
            </a:r>
            <a:r>
              <a:rPr lang="de-CH" dirty="0">
                <a:hlinkClick r:id="rId3"/>
              </a:rPr>
              <a:t> </a:t>
            </a:r>
            <a:r>
              <a:rPr lang="de-CH" dirty="0" err="1">
                <a:hlinkClick r:id="rId3"/>
              </a:rPr>
              <a:t>sustainable</a:t>
            </a:r>
            <a:r>
              <a:rPr lang="de-CH" dirty="0">
                <a:hlinkClick r:id="rId3"/>
              </a:rPr>
              <a:t> </a:t>
            </a:r>
            <a:r>
              <a:rPr lang="de-CH" dirty="0" err="1">
                <a:hlinkClick r:id="rId3"/>
              </a:rPr>
              <a:t>agriculture</a:t>
            </a:r>
            <a:r>
              <a:rPr lang="de-CH" dirty="0">
                <a:hlinkClick r:id="rId3"/>
              </a:rPr>
              <a:t> </a:t>
            </a:r>
            <a:r>
              <a:rPr lang="de-CH" sz="1800" dirty="0"/>
              <a:t>(Policy Brief)</a:t>
            </a:r>
          </a:p>
          <a:p>
            <a:pPr marL="0" indent="0">
              <a:lnSpc>
                <a:spcPct val="107000"/>
              </a:lnSpc>
              <a:spcAft>
                <a:spcPts val="400"/>
              </a:spcAft>
              <a:buNone/>
            </a:pPr>
            <a:r>
              <a:rPr lang="de-CH" dirty="0">
                <a:hlinkClick r:id="rId4"/>
              </a:rPr>
              <a:t>Digital </a:t>
            </a:r>
            <a:r>
              <a:rPr lang="de-CH" dirty="0" err="1">
                <a:hlinkClick r:id="rId4"/>
              </a:rPr>
              <a:t>innovations</a:t>
            </a:r>
            <a:r>
              <a:rPr lang="de-CH" dirty="0">
                <a:hlinkClick r:id="rId4"/>
              </a:rPr>
              <a:t> </a:t>
            </a:r>
            <a:r>
              <a:rPr lang="de-CH" dirty="0" err="1">
                <a:hlinkClick r:id="rId4"/>
              </a:rPr>
              <a:t>for</a:t>
            </a:r>
            <a:r>
              <a:rPr lang="de-CH" dirty="0">
                <a:hlinkClick r:id="rId4"/>
              </a:rPr>
              <a:t> </a:t>
            </a:r>
            <a:r>
              <a:rPr lang="de-CH" dirty="0" err="1">
                <a:hlinkClick r:id="rId4"/>
              </a:rPr>
              <a:t>sustainable</a:t>
            </a:r>
            <a:r>
              <a:rPr lang="de-CH" dirty="0">
                <a:hlinkClick r:id="rId4"/>
              </a:rPr>
              <a:t> </a:t>
            </a:r>
            <a:r>
              <a:rPr lang="de-CH" dirty="0" err="1">
                <a:hlinkClick r:id="rId4"/>
              </a:rPr>
              <a:t>agriculture</a:t>
            </a:r>
            <a:r>
              <a:rPr lang="de-CH" dirty="0">
                <a:hlinkClick r:id="rId4"/>
              </a:rPr>
              <a:t> </a:t>
            </a:r>
            <a:r>
              <a:rPr lang="de-CH" sz="1800" dirty="0"/>
              <a:t>(Video)</a:t>
            </a:r>
          </a:p>
          <a:p>
            <a:pPr marL="0" indent="0">
              <a:lnSpc>
                <a:spcPct val="107000"/>
              </a:lnSpc>
              <a:spcAft>
                <a:spcPts val="400"/>
              </a:spcAft>
              <a:buNone/>
            </a:pPr>
            <a:r>
              <a:rPr lang="de-CH" sz="1800" dirty="0">
                <a:hlinkClick r:id="rId5"/>
              </a:rPr>
              <a:t>Digital </a:t>
            </a:r>
            <a:r>
              <a:rPr lang="de-CH" sz="1800" dirty="0" err="1">
                <a:hlinkClick r:id="rId5"/>
              </a:rPr>
              <a:t>innovations</a:t>
            </a:r>
            <a:r>
              <a:rPr lang="de-CH" sz="1800" dirty="0">
                <a:hlinkClick r:id="rId5"/>
              </a:rPr>
              <a:t> for </a:t>
            </a:r>
            <a:r>
              <a:rPr lang="de-CH" sz="1800" dirty="0" err="1">
                <a:hlinkClick r:id="rId5"/>
              </a:rPr>
              <a:t>sustainable</a:t>
            </a:r>
            <a:r>
              <a:rPr lang="de-CH" sz="1800" dirty="0">
                <a:hlinkClick r:id="rId5"/>
              </a:rPr>
              <a:t> </a:t>
            </a:r>
            <a:r>
              <a:rPr lang="de-CH" sz="1800" dirty="0" err="1">
                <a:hlinkClick r:id="rId5"/>
              </a:rPr>
              <a:t>agriculture</a:t>
            </a:r>
            <a:r>
              <a:rPr lang="de-CH" sz="1800" dirty="0"/>
              <a:t> </a:t>
            </a:r>
            <a:r>
              <a:rPr lang="en-US" sz="1800" dirty="0"/>
              <a:t>(scientific lecture)</a:t>
            </a:r>
            <a:endParaRPr lang="de-CH" sz="1800" dirty="0"/>
          </a:p>
          <a:p>
            <a:endParaRPr lang="de-CH" dirty="0"/>
          </a:p>
        </p:txBody>
      </p:sp>
      <p:sp>
        <p:nvSpPr>
          <p:cNvPr id="4" name="Slide Number Placeholder 3">
            <a:extLst>
              <a:ext uri="{FF2B5EF4-FFF2-40B4-BE49-F238E27FC236}">
                <a16:creationId xmlns:a16="http://schemas.microsoft.com/office/drawing/2014/main" id="{FC961DD5-B878-A533-585B-51C86112E64D}"/>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CBB0896D-5B22-17C5-38F7-DBA2E613B55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471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BB9DCE0-74F1-FA20-8441-7CA6D427C7E1}"/>
              </a:ext>
            </a:extLst>
          </p:cNvPr>
          <p:cNvGraphicFramePr>
            <a:graphicFrameLocks noChangeAspect="1"/>
          </p:cNvGraphicFramePr>
          <p:nvPr>
            <p:custDataLst>
              <p:tags r:id="rId1"/>
            </p:custDataLst>
            <p:extLst>
              <p:ext uri="{D42A27DB-BD31-4B8C-83A1-F6EECF244321}">
                <p14:modId xmlns:p14="http://schemas.microsoft.com/office/powerpoint/2010/main" val="373412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1BB9DCE0-74F1-FA20-8441-7CA6D427C7E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302541-1BF2-6138-7F45-CEC5F359610D}"/>
              </a:ext>
            </a:extLst>
          </p:cNvPr>
          <p:cNvSpPr>
            <a:spLocks noGrp="1"/>
          </p:cNvSpPr>
          <p:nvPr>
            <p:ph type="title"/>
          </p:nvPr>
        </p:nvSpPr>
        <p:spPr/>
        <p:txBody>
          <a:bodyPr vert="horz"/>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r>
              <a:rPr lang="de-CH" dirty="0"/>
              <a:t> - Background</a:t>
            </a:r>
          </a:p>
        </p:txBody>
      </p:sp>
      <p:sp>
        <p:nvSpPr>
          <p:cNvPr id="3" name="Slide Number Placeholder 2">
            <a:extLst>
              <a:ext uri="{FF2B5EF4-FFF2-40B4-BE49-F238E27FC236}">
                <a16:creationId xmlns:a16="http://schemas.microsoft.com/office/drawing/2014/main" id="{4BECEC1B-84F4-1AD7-F1A8-E11869C8B0B9}"/>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4" name="Text Placeholder 3">
            <a:extLst>
              <a:ext uri="{FF2B5EF4-FFF2-40B4-BE49-F238E27FC236}">
                <a16:creationId xmlns:a16="http://schemas.microsoft.com/office/drawing/2014/main" id="{53E2A1C8-440B-4062-0BF9-8A664B890AB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6F0F2577-45FF-5E32-91D1-F158E6E7A13F}"/>
              </a:ext>
            </a:extLst>
          </p:cNvPr>
          <p:cNvSpPr>
            <a:spLocks noGrp="1"/>
          </p:cNvSpPr>
          <p:nvPr>
            <p:ph type="body" sz="quarter" idx="13"/>
          </p:nvPr>
        </p:nvSpPr>
        <p:spPr>
          <a:xfrm>
            <a:off x="479426" y="2565400"/>
            <a:ext cx="10625576" cy="3455988"/>
          </a:xfrm>
        </p:spPr>
        <p:txBody>
          <a:bodyPr/>
          <a:lstStyle/>
          <a:p>
            <a:r>
              <a:rPr lang="en-US" dirty="0"/>
              <a:t>New digital technologies enable more precise application of agricultural inputs such as fertilizers and plant-protection products. This can make agriculture more environmentally friendly without reducing food production. A holistic consideration of technical, agronomic, and socio-economic factors can generate added value for Swiss agriculture and the food sector.</a:t>
            </a:r>
          </a:p>
          <a:p>
            <a:endParaRPr lang="de-CH" dirty="0"/>
          </a:p>
        </p:txBody>
      </p:sp>
      <p:sp>
        <p:nvSpPr>
          <p:cNvPr id="6" name="Text Placeholder 5">
            <a:extLst>
              <a:ext uri="{FF2B5EF4-FFF2-40B4-BE49-F238E27FC236}">
                <a16:creationId xmlns:a16="http://schemas.microsoft.com/office/drawing/2014/main" id="{0531ED63-00CB-F5C7-F61B-8A5952750183}"/>
              </a:ext>
            </a:extLst>
          </p:cNvPr>
          <p:cNvSpPr>
            <a:spLocks noGrp="1"/>
          </p:cNvSpPr>
          <p:nvPr>
            <p:ph type="body" sz="quarter" idx="12"/>
          </p:nvPr>
        </p:nvSpPr>
        <p:spPr>
          <a:xfrm>
            <a:off x="479424" y="1808163"/>
            <a:ext cx="11250208" cy="587375"/>
          </a:xfrm>
        </p:spPr>
        <p:txBody>
          <a:bodyPr/>
          <a:lstStyle/>
          <a:p>
            <a:r>
              <a:rPr lang="de-CH" dirty="0"/>
              <a:t>Background</a:t>
            </a:r>
          </a:p>
        </p:txBody>
      </p:sp>
      <p:sp>
        <p:nvSpPr>
          <p:cNvPr id="8" name="Footer Placeholder 7">
            <a:extLst>
              <a:ext uri="{FF2B5EF4-FFF2-40B4-BE49-F238E27FC236}">
                <a16:creationId xmlns:a16="http://schemas.microsoft.com/office/drawing/2014/main" id="{5D193D0F-0BBC-DDCF-7775-EB4A06C4CBB5}"/>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799271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691A9-137B-FC03-F569-02B36774CCB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B9A48D9-9678-2423-8BD2-81F32B16A0C9}"/>
              </a:ext>
            </a:extLst>
          </p:cNvPr>
          <p:cNvGraphicFramePr>
            <a:graphicFrameLocks noChangeAspect="1"/>
          </p:cNvGraphicFramePr>
          <p:nvPr>
            <p:custDataLst>
              <p:tags r:id="rId1"/>
            </p:custDataLst>
            <p:extLst>
              <p:ext uri="{D42A27DB-BD31-4B8C-83A1-F6EECF244321}">
                <p14:modId xmlns:p14="http://schemas.microsoft.com/office/powerpoint/2010/main" val="15291010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B9A48D9-9678-2423-8BD2-81F32B16A0C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79260D-34D6-17CF-0E4F-308C166F6B8B}"/>
              </a:ext>
            </a:extLst>
          </p:cNvPr>
          <p:cNvSpPr>
            <a:spLocks noGrp="1"/>
          </p:cNvSpPr>
          <p:nvPr>
            <p:ph type="title"/>
          </p:nvPr>
        </p:nvSpPr>
        <p:spPr/>
        <p:txBody>
          <a:bodyPr vert="horz"/>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r>
              <a:rPr lang="de-CH" b="1" dirty="0"/>
              <a:t>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39C5632A-3DF9-8B41-070F-F3D300216373}"/>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4" name="Text Placeholder 3">
            <a:extLst>
              <a:ext uri="{FF2B5EF4-FFF2-40B4-BE49-F238E27FC236}">
                <a16:creationId xmlns:a16="http://schemas.microsoft.com/office/drawing/2014/main" id="{3FD64383-1C03-5CE7-5884-4B7CBF630DD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24D463AC-0399-2B09-F4D8-AE77F370F2D0}"/>
              </a:ext>
            </a:extLst>
          </p:cNvPr>
          <p:cNvSpPr>
            <a:spLocks noGrp="1"/>
          </p:cNvSpPr>
          <p:nvPr>
            <p:ph type="body" sz="quarter" idx="13"/>
          </p:nvPr>
        </p:nvSpPr>
        <p:spPr>
          <a:xfrm>
            <a:off x="479426" y="2565400"/>
            <a:ext cx="10614560" cy="3455988"/>
          </a:xfrm>
        </p:spPr>
        <p:txBody>
          <a:bodyPr/>
          <a:lstStyle/>
          <a:p>
            <a:r>
              <a:rPr lang="en-US" dirty="0"/>
              <a:t>The aim of the project was to show how new information and communication technologies—such as the use of remote sensing (e.g., via satellites or drones)—can contribute to the sustainable development of Swiss agriculture. We tested new applications, for example the use of drones in fertilizer management, and quantified their environmental impacts. In addition, the project also sought to determine the costs and benefits of digital technologies in order to provide a basis for management and policy decisions.</a:t>
            </a:r>
            <a:endParaRPr lang="de-CH" dirty="0"/>
          </a:p>
        </p:txBody>
      </p:sp>
      <p:sp>
        <p:nvSpPr>
          <p:cNvPr id="6" name="Text Placeholder 5">
            <a:extLst>
              <a:ext uri="{FF2B5EF4-FFF2-40B4-BE49-F238E27FC236}">
                <a16:creationId xmlns:a16="http://schemas.microsoft.com/office/drawing/2014/main" id="{8E327AED-3F64-8831-CD9E-EE941F2ABC76}"/>
              </a:ext>
            </a:extLst>
          </p:cNvPr>
          <p:cNvSpPr>
            <a:spLocks noGrp="1"/>
          </p:cNvSpPr>
          <p:nvPr>
            <p:ph type="body" sz="quarter" idx="12"/>
          </p:nvPr>
        </p:nvSpPr>
        <p:spPr>
          <a:xfrm>
            <a:off x="479424" y="1808163"/>
            <a:ext cx="11238544"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2AC7280B-3CEF-DB2F-3D9F-118E088F46C5}"/>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701027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431184-3B24-6A50-3AFC-4A7D8DC7F23B}"/>
              </a:ext>
            </a:extLst>
          </p:cNvPr>
          <p:cNvGraphicFramePr>
            <a:graphicFrameLocks noChangeAspect="1"/>
          </p:cNvGraphicFramePr>
          <p:nvPr>
            <p:custDataLst>
              <p:tags r:id="rId1"/>
            </p:custDataLst>
            <p:extLst>
              <p:ext uri="{D42A27DB-BD31-4B8C-83A1-F6EECF244321}">
                <p14:modId xmlns:p14="http://schemas.microsoft.com/office/powerpoint/2010/main" val="3730337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4431184-3B24-6A50-3AFC-4A7D8DC7F23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628AA6-9FDC-D547-326E-91AAC4887950}"/>
              </a:ext>
            </a:extLst>
          </p:cNvPr>
          <p:cNvSpPr>
            <a:spLocks noGrp="1"/>
          </p:cNvSpPr>
          <p:nvPr>
            <p:ph type="title"/>
          </p:nvPr>
        </p:nvSpPr>
        <p:spPr/>
        <p:txBody>
          <a:bodyPr vert="horz"/>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br>
              <a:rPr lang="de-CH" b="1" dirty="0"/>
            </a:br>
            <a:r>
              <a:rPr lang="de-CH" dirty="0"/>
              <a:t>– </a:t>
            </a:r>
            <a:r>
              <a:rPr lang="de-CH" dirty="0" err="1"/>
              <a:t>Results</a:t>
            </a:r>
            <a:r>
              <a:rPr lang="de-CH" dirty="0"/>
              <a:t> I</a:t>
            </a:r>
          </a:p>
        </p:txBody>
      </p:sp>
      <p:sp>
        <p:nvSpPr>
          <p:cNvPr id="3" name="Text Placeholder 2">
            <a:extLst>
              <a:ext uri="{FF2B5EF4-FFF2-40B4-BE49-F238E27FC236}">
                <a16:creationId xmlns:a16="http://schemas.microsoft.com/office/drawing/2014/main" id="{567D3797-356A-A0DD-3742-EC39015BB74F}"/>
              </a:ext>
            </a:extLst>
          </p:cNvPr>
          <p:cNvSpPr>
            <a:spLocks noGrp="1"/>
          </p:cNvSpPr>
          <p:nvPr>
            <p:ph type="body" sz="quarter" idx="13"/>
          </p:nvPr>
        </p:nvSpPr>
        <p:spPr/>
        <p:txBody>
          <a:bodyPr/>
          <a:lstStyle/>
          <a:p>
            <a:pPr marL="0" indent="0">
              <a:buNone/>
            </a:pPr>
            <a:r>
              <a:rPr lang="en-US" b="1" dirty="0"/>
              <a:t>Nitrogen use in agriculture can be reduced</a:t>
            </a:r>
            <a:endParaRPr lang="en-US" dirty="0"/>
          </a:p>
          <a:p>
            <a:pPr marL="0" indent="0">
              <a:buNone/>
            </a:pPr>
            <a:r>
              <a:rPr lang="en-US" dirty="0"/>
              <a:t>Our results from various field trials show that sensors can precisely measure the uneven distribution and emissions of nitrogen compounds in fields. Information from satellites or drones can therefore help to significantly reduce nitrogen application while maintaining yields. Measurements of greenhouse-gas emissions likewise suggest that optimized fertilizer applications and crop rotations with high year-round ground cover can achieve positive environmental effects.</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E86F6254-A50B-990E-364C-A3705F172FC0}"/>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2F748D88-3FE4-25A7-1F48-3A9BAEF72EB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516666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34A7D-1C5C-56FC-C4F5-10ABABE0E53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9EE3D1-FE81-5AEF-6209-29353AC06999}"/>
              </a:ext>
            </a:extLst>
          </p:cNvPr>
          <p:cNvGraphicFramePr>
            <a:graphicFrameLocks noChangeAspect="1"/>
          </p:cNvGraphicFramePr>
          <p:nvPr>
            <p:custDataLst>
              <p:tags r:id="rId1"/>
            </p:custDataLst>
            <p:extLst>
              <p:ext uri="{D42A27DB-BD31-4B8C-83A1-F6EECF244321}">
                <p14:modId xmlns:p14="http://schemas.microsoft.com/office/powerpoint/2010/main" val="3084134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B9EE3D1-FE81-5AEF-6209-29353AC069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38AE44-BB5C-8207-00E6-30E1C1E157FF}"/>
              </a:ext>
            </a:extLst>
          </p:cNvPr>
          <p:cNvSpPr>
            <a:spLocks noGrp="1"/>
          </p:cNvSpPr>
          <p:nvPr>
            <p:ph type="title"/>
          </p:nvPr>
        </p:nvSpPr>
        <p:spPr/>
        <p:txBody>
          <a:bodyPr vert="horz"/>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br>
              <a:rPr lang="de-CH" b="1" dirty="0"/>
            </a:br>
            <a:r>
              <a:rPr lang="de-CH" b="1" dirty="0"/>
              <a:t>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34D052D2-42F9-F063-CA91-F9280C6D21F7}"/>
              </a:ext>
            </a:extLst>
          </p:cNvPr>
          <p:cNvSpPr>
            <a:spLocks noGrp="1"/>
          </p:cNvSpPr>
          <p:nvPr>
            <p:ph type="body" sz="quarter" idx="13"/>
          </p:nvPr>
        </p:nvSpPr>
        <p:spPr/>
        <p:txBody>
          <a:bodyPr/>
          <a:lstStyle/>
          <a:p>
            <a:pPr marL="0" indent="0">
              <a:buNone/>
            </a:pPr>
            <a:r>
              <a:rPr lang="en-US" b="1" dirty="0"/>
              <a:t>Growing demand for reliable precision technologies</a:t>
            </a:r>
            <a:endParaRPr lang="en-US" dirty="0"/>
          </a:p>
          <a:p>
            <a:pPr marL="0" indent="0">
              <a:buNone/>
            </a:pPr>
            <a:r>
              <a:rPr lang="en-US" dirty="0"/>
              <a:t>The economic analysis of precision-agriculture methods shows that although financial gains for farmers do exist, they are often too small to justify high investments in digital technologies. Rising fertilizer prices, however, are making these technologies more attractive. Inter-farm cooperation and government support also increase demand for precision agriculture. According to surveys, Swiss farmers are open to precision agriculture if the technology is reliable and technical support is available.</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6C3412E7-308F-77DC-C235-7ACD230207B6}"/>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7D58188E-A2A4-E113-5E6A-C67A6F97B45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075584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understands the </a:t>
            </a:r>
            <a:r>
              <a:rPr lang="en-US" b="1" dirty="0"/>
              <a:t>nutritional </a:t>
            </a:r>
            <a:r>
              <a:rPr lang="en-US" dirty="0"/>
              <a:t>and </a:t>
            </a:r>
            <a:r>
              <a:rPr lang="en-US" b="1" dirty="0"/>
              <a:t>environmental impacts </a:t>
            </a:r>
            <a:r>
              <a:rPr lang="en-US" dirty="0"/>
              <a:t>of our food consumption</a:t>
            </a:r>
          </a:p>
          <a:p>
            <a:r>
              <a:rPr lang="en-US" dirty="0"/>
              <a:t>knows the key interrelationships of sustainable </a:t>
            </a:r>
            <a:r>
              <a:rPr lang="en-US" b="1" dirty="0"/>
              <a:t>value chains </a:t>
            </a:r>
            <a:r>
              <a:rPr lang="en-US" dirty="0"/>
              <a:t>in the food sector</a:t>
            </a:r>
          </a:p>
          <a:p>
            <a:r>
              <a:rPr lang="en-US" dirty="0"/>
              <a:t>understands the links between </a:t>
            </a:r>
            <a:r>
              <a:rPr lang="en-US" b="1" dirty="0"/>
              <a:t>ecology</a:t>
            </a:r>
            <a:r>
              <a:rPr lang="en-US" dirty="0"/>
              <a:t> and </a:t>
            </a:r>
            <a:r>
              <a:rPr lang="en-US" b="1" dirty="0"/>
              <a:t>economics</a:t>
            </a:r>
            <a:r>
              <a:rPr lang="en-US" dirty="0"/>
              <a:t> in Swiss farms</a:t>
            </a:r>
          </a:p>
          <a:p>
            <a:r>
              <a:rPr lang="en-US" dirty="0"/>
              <a:t>is familiar with innovation opportunities for agriculture, especially </a:t>
            </a:r>
            <a:r>
              <a:rPr lang="en-US" b="1" dirty="0"/>
              <a:t>digitalization</a:t>
            </a:r>
            <a:r>
              <a:rPr lang="en-US" dirty="0"/>
              <a:t>, </a:t>
            </a:r>
            <a:r>
              <a:rPr lang="en-US" b="1" dirty="0"/>
              <a:t>precision agriculture</a:t>
            </a:r>
            <a:r>
              <a:rPr lang="en-US" dirty="0"/>
              <a:t>, and </a:t>
            </a:r>
            <a:r>
              <a:rPr lang="en-US" b="1" dirty="0"/>
              <a:t>smart farming</a:t>
            </a:r>
          </a:p>
          <a:p>
            <a:r>
              <a:rPr lang="en-US" dirty="0"/>
              <a:t>reflects on the importance of </a:t>
            </a:r>
            <a:r>
              <a:rPr lang="en-US" b="1" dirty="0"/>
              <a:t>legal frameworks</a:t>
            </a:r>
            <a:r>
              <a:rPr lang="en-US" dirty="0"/>
              <a:t> and </a:t>
            </a:r>
            <a:r>
              <a:rPr lang="en-US" b="1" dirty="0"/>
              <a:t>sustainable global trade </a:t>
            </a:r>
            <a:r>
              <a:rPr lang="en-US" dirty="0"/>
              <a:t>relations</a:t>
            </a:r>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8006E-D446-4538-54EF-89CF9C38A59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3675AC-797F-E243-2A70-18FF32309787}"/>
              </a:ext>
            </a:extLst>
          </p:cNvPr>
          <p:cNvGraphicFramePr>
            <a:graphicFrameLocks noChangeAspect="1"/>
          </p:cNvGraphicFramePr>
          <p:nvPr>
            <p:custDataLst>
              <p:tags r:id="rId1"/>
            </p:custDataLst>
            <p:extLst>
              <p:ext uri="{D42A27DB-BD31-4B8C-83A1-F6EECF244321}">
                <p14:modId xmlns:p14="http://schemas.microsoft.com/office/powerpoint/2010/main" val="2602116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C3675AC-797F-E243-2A70-18FF3230978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965E-D2F1-324F-356D-EC7B61E69936}"/>
              </a:ext>
            </a:extLst>
          </p:cNvPr>
          <p:cNvSpPr>
            <a:spLocks noGrp="1"/>
          </p:cNvSpPr>
          <p:nvPr>
            <p:ph type="title"/>
          </p:nvPr>
        </p:nvSpPr>
        <p:spPr/>
        <p:txBody>
          <a:bodyPr vert="horz"/>
          <a:lstStyle/>
          <a:p>
            <a:r>
              <a:rPr lang="de-CH" dirty="0"/>
              <a:t>Digital </a:t>
            </a:r>
            <a:r>
              <a:rPr lang="de-CH" dirty="0" err="1"/>
              <a:t>innovations</a:t>
            </a:r>
            <a:r>
              <a:rPr lang="de-CH" dirty="0"/>
              <a:t> </a:t>
            </a:r>
            <a:r>
              <a:rPr lang="de-CH" dirty="0" err="1"/>
              <a:t>for</a:t>
            </a:r>
            <a:r>
              <a:rPr lang="de-CH" dirty="0"/>
              <a:t> </a:t>
            </a:r>
            <a:r>
              <a:rPr lang="de-CH" dirty="0" err="1"/>
              <a:t>sustainable</a:t>
            </a:r>
            <a:r>
              <a:rPr lang="de-CH" dirty="0"/>
              <a:t> </a:t>
            </a:r>
            <a:r>
              <a:rPr lang="de-CH" dirty="0" err="1"/>
              <a:t>agriculture</a:t>
            </a:r>
            <a:br>
              <a:rPr lang="de-CH" b="1" dirty="0"/>
            </a:br>
            <a:r>
              <a:rPr lang="de-CH" b="1" dirty="0"/>
              <a:t>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7E650F50-8C65-A782-33B8-F4701BC13EEA}"/>
              </a:ext>
            </a:extLst>
          </p:cNvPr>
          <p:cNvSpPr>
            <a:spLocks noGrp="1"/>
          </p:cNvSpPr>
          <p:nvPr>
            <p:ph type="body" sz="quarter" idx="13"/>
          </p:nvPr>
        </p:nvSpPr>
        <p:spPr/>
        <p:txBody>
          <a:bodyPr/>
          <a:lstStyle/>
          <a:p>
            <a:pPr marL="0" indent="0">
              <a:buNone/>
            </a:pPr>
            <a:r>
              <a:rPr lang="en-US" b="1" dirty="0"/>
              <a:t>A holistic perspective is needed for digital innovation</a:t>
            </a:r>
            <a:endParaRPr lang="en-US" dirty="0"/>
          </a:p>
          <a:p>
            <a:pPr marL="0" indent="0">
              <a:buNone/>
            </a:pPr>
            <a:r>
              <a:rPr lang="en-US" dirty="0"/>
              <a:t>From an agricultural-policy perspective, our results show that a holistic view is needed when considering possible support for digital innovations in agriculture. This includes five aspects:</a:t>
            </a:r>
          </a:p>
          <a:p>
            <a:pPr marL="342900" indent="-342900">
              <a:buFont typeface="+mj-lt"/>
              <a:buAutoNum type="arabicPeriod"/>
            </a:pPr>
            <a:r>
              <a:rPr lang="en-US" dirty="0"/>
              <a:t>stronger establishment of digital infrastructure is required;</a:t>
            </a:r>
          </a:p>
          <a:p>
            <a:pPr marL="342900" indent="-342900">
              <a:buFont typeface="+mj-lt"/>
              <a:buAutoNum type="arabicPeriod"/>
            </a:pPr>
            <a:r>
              <a:rPr lang="en-US" dirty="0"/>
              <a:t>knowledge about new technologies must be promoted through education and training and through exchange within farming networks;</a:t>
            </a:r>
          </a:p>
          <a:p>
            <a:pPr marL="342900" indent="-342900">
              <a:buFont typeface="+mj-lt"/>
              <a:buAutoNum type="arabicPeriod"/>
            </a:pPr>
            <a:r>
              <a:rPr lang="en-US" dirty="0"/>
              <a:t>clear rules are needed on how data from different actors can be used;</a:t>
            </a:r>
          </a:p>
          <a:p>
            <a:pPr marL="342900" indent="-342900">
              <a:buFont typeface="+mj-lt"/>
              <a:buAutoNum type="arabicPeriod"/>
            </a:pPr>
            <a:r>
              <a:rPr lang="en-US" dirty="0"/>
              <a:t>since large investments are not sensible for every farm, inter-farm perspectives are necessary;</a:t>
            </a:r>
          </a:p>
          <a:p>
            <a:pPr marL="342900" indent="-342900">
              <a:buFont typeface="+mj-lt"/>
              <a:buAutoNum type="arabicPeriod"/>
            </a:pPr>
            <a:r>
              <a:rPr lang="en-US" dirty="0"/>
              <a:t>policy measures should not focus on specific technologies, but explicitly on reducing the ecological footprint while maintaining production.</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55C7AE6E-9EC1-B841-78AA-52C38DB41962}"/>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CA2D7DA2-C806-2170-747C-BA71AFB7D54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019394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Discuss in pairs or groups of three at the end:</a:t>
            </a:r>
          </a:p>
          <a:p>
            <a:pPr marL="0" indent="0">
              <a:buNone/>
            </a:pPr>
            <a:endParaRPr lang="en-US" dirty="0"/>
          </a:p>
          <a:p>
            <a:pPr marL="342900" indent="-342900">
              <a:buFont typeface="+mj-lt"/>
              <a:buAutoNum type="arabicPeriod"/>
            </a:pPr>
            <a:r>
              <a:rPr lang="en-US" dirty="0"/>
              <a:t>What should a future-oriented and sustainable agriculture look like? Justify your answers.</a:t>
            </a:r>
          </a:p>
          <a:p>
            <a:pPr marL="342900" indent="-342900">
              <a:buFont typeface="+mj-lt"/>
              <a:buAutoNum type="arabicPeriod"/>
            </a:pPr>
            <a:r>
              <a:rPr lang="en-US" dirty="0"/>
              <a:t>Which measures do you think have the greatest potential to contribute to sustainable agriculture? Why?</a:t>
            </a:r>
          </a:p>
          <a:p>
            <a:pPr marL="342900" indent="-342900">
              <a:buFont typeface="+mj-lt"/>
              <a:buAutoNum type="arabicPeriod"/>
            </a:pPr>
            <a:r>
              <a:rPr lang="en-US" dirty="0"/>
              <a:t>What problematic side effects could the proposed measures have? How would you reduce them?</a:t>
            </a:r>
          </a:p>
          <a:p>
            <a:pPr marL="342900" indent="-342900">
              <a:buFont typeface="+mj-lt"/>
              <a:buAutoNum type="arabicPeriod"/>
            </a:pPr>
            <a:r>
              <a:rPr lang="en-US" dirty="0"/>
              <a:t>Who can contribute what: farmers, trade, consumers, policymakers?</a:t>
            </a:r>
          </a:p>
          <a:p>
            <a:pPr marL="342900" indent="-342900">
              <a:buFont typeface="+mj-lt"/>
              <a:buAutoNum type="arabicPeriod"/>
            </a:pPr>
            <a:r>
              <a:rPr lang="en-US" dirty="0"/>
              <a:t>What contribution can I personally make?</a:t>
            </a:r>
          </a:p>
          <a:p>
            <a:pPr marL="0" indent="0">
              <a:buNone/>
            </a:pPr>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727228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en-US" dirty="0"/>
              <a:t>Suitable for use in bachelor’s degree programs at Swiss higher education institutions</a:t>
            </a:r>
          </a:p>
          <a:p>
            <a:pPr>
              <a:lnSpc>
                <a:spcPct val="100000"/>
              </a:lnSpc>
              <a:spcAft>
                <a:spcPts val="1200"/>
              </a:spcAft>
              <a:buFont typeface="Arial" panose="020B0604020202020204" pitchFamily="34" charset="0"/>
              <a:buChar char="•"/>
            </a:pPr>
            <a:r>
              <a:rPr lang="en-US" dirty="0"/>
              <a:t>Also suitable as an introduction for master’s and continuing-education programs at Swiss higher education institutions</a:t>
            </a:r>
          </a:p>
          <a:p>
            <a:pPr>
              <a:lnSpc>
                <a:spcPct val="100000"/>
              </a:lnSpc>
              <a:spcAft>
                <a:spcPts val="1200"/>
              </a:spcAft>
              <a:buFont typeface="Arial" panose="020B0604020202020204" pitchFamily="34" charset="0"/>
              <a:buChar char="•"/>
            </a:pPr>
            <a:r>
              <a:rPr lang="en-US" dirty="0"/>
              <a:t>Suitable for self-study; can also be used in face-to-face teaching</a:t>
            </a:r>
          </a:p>
          <a:p>
            <a:pPr>
              <a:lnSpc>
                <a:spcPct val="100000"/>
              </a:lnSpc>
              <a:spcAft>
                <a:spcPts val="1200"/>
              </a:spcAft>
              <a:buFont typeface="Arial" panose="020B0604020202020204" pitchFamily="34" charset="0"/>
              <a:buChar char="•"/>
            </a:pPr>
            <a:r>
              <a:rPr lang="en-US" dirty="0"/>
              <a:t>Scope: 3–4 hours of learning time, with an additional 3–4 hours for further in-depth study</a:t>
            </a: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063165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buNone/>
            </a:pPr>
            <a:r>
              <a:rPr lang="en-US" dirty="0"/>
              <a:t>Please try, using your prior knowledge and experience, to answer the following questions. Ideally, discuss your answers with a colleague:</a:t>
            </a:r>
          </a:p>
          <a:p>
            <a:pPr marL="0" indent="0">
              <a:buNone/>
            </a:pPr>
            <a:endParaRPr lang="en-US" dirty="0"/>
          </a:p>
          <a:p>
            <a:r>
              <a:rPr lang="en-US" dirty="0"/>
              <a:t>What </a:t>
            </a:r>
            <a:r>
              <a:rPr lang="en-US" b="1" dirty="0"/>
              <a:t>importance</a:t>
            </a:r>
            <a:r>
              <a:rPr lang="en-US" dirty="0"/>
              <a:t> does food have for me? What </a:t>
            </a:r>
            <a:r>
              <a:rPr lang="en-US" b="1" dirty="0"/>
              <a:t>attitude</a:t>
            </a:r>
            <a:r>
              <a:rPr lang="en-US" dirty="0"/>
              <a:t> do I have toward agriculture, and why?</a:t>
            </a:r>
          </a:p>
          <a:p>
            <a:r>
              <a:rPr lang="en-US" dirty="0"/>
              <a:t>What does a </a:t>
            </a:r>
            <a:r>
              <a:rPr lang="en-US" b="1" dirty="0"/>
              <a:t>sustainable diet </a:t>
            </a:r>
            <a:r>
              <a:rPr lang="en-US" dirty="0"/>
              <a:t>look like?</a:t>
            </a:r>
          </a:p>
          <a:p>
            <a:r>
              <a:rPr lang="en-US" dirty="0"/>
              <a:t>My prior knowledge: What are the most important </a:t>
            </a:r>
            <a:r>
              <a:rPr lang="en-US" b="1" dirty="0"/>
              <a:t>challenges</a:t>
            </a:r>
            <a:r>
              <a:rPr lang="en-US" dirty="0"/>
              <a:t> of sustainable agriculture?</a:t>
            </a:r>
          </a:p>
          <a:p>
            <a:r>
              <a:rPr lang="en-US" b="1" dirty="0"/>
              <a:t>Who</a:t>
            </a:r>
            <a:r>
              <a:rPr lang="en-US" dirty="0"/>
              <a:t> and </a:t>
            </a:r>
            <a:r>
              <a:rPr lang="en-US" b="1" dirty="0"/>
              <a:t>what</a:t>
            </a:r>
            <a:r>
              <a:rPr lang="en-US" dirty="0"/>
              <a:t> </a:t>
            </a:r>
            <a:r>
              <a:rPr lang="en-US" b="1" dirty="0"/>
              <a:t>influence</a:t>
            </a:r>
            <a:r>
              <a:rPr lang="en-US" dirty="0"/>
              <a:t> agriculture </a:t>
            </a:r>
            <a:r>
              <a:rPr lang="en-US" b="1" dirty="0"/>
              <a:t>the most</a:t>
            </a:r>
            <a:r>
              <a:rPr lang="en-US" dirty="0"/>
              <a:t>? Which sectors and professions have a major impact, and why?</a:t>
            </a:r>
          </a:p>
          <a:p>
            <a:r>
              <a:rPr lang="en-US" dirty="0"/>
              <a:t>Which </a:t>
            </a:r>
            <a:r>
              <a:rPr lang="en-US" b="1" dirty="0"/>
              <a:t>services</a:t>
            </a:r>
            <a:r>
              <a:rPr lang="en-US" dirty="0"/>
              <a:t> does </a:t>
            </a:r>
            <a:r>
              <a:rPr lang="en-US" b="1" dirty="0"/>
              <a:t>agriculture</a:t>
            </a:r>
            <a:r>
              <a:rPr lang="en-US" dirty="0"/>
              <a:t> provide in </a:t>
            </a:r>
            <a:r>
              <a:rPr lang="en-US" b="1" dirty="0"/>
              <a:t>Switzerland,</a:t>
            </a:r>
            <a:r>
              <a:rPr lang="en-US" dirty="0"/>
              <a:t> and what are the biggest </a:t>
            </a:r>
            <a:r>
              <a:rPr lang="en-US" b="1" dirty="0"/>
              <a:t>trade-offs</a:t>
            </a:r>
            <a:r>
              <a:rPr lang="en-US" dirty="0"/>
              <a:t>?</a:t>
            </a:r>
          </a:p>
          <a:p>
            <a:endParaRPr lang="de-CH" dirty="0"/>
          </a:p>
          <a:p>
            <a:pPr>
              <a:buFont typeface="Wingdings" panose="05000000000000000000" pitchFamily="2" charset="2"/>
              <a:buChar char="Ø"/>
            </a:pPr>
            <a:r>
              <a:rPr lang="en-US" dirty="0"/>
              <a:t>Which </a:t>
            </a:r>
            <a:r>
              <a:rPr lang="en-US" b="1" dirty="0"/>
              <a:t>sustainability goals </a:t>
            </a:r>
            <a:r>
              <a:rPr lang="en-US" dirty="0"/>
              <a:t>are particularly relevant, and which ones are they?</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cxnSp>
        <p:nvCxnSpPr>
          <p:cNvPr id="11" name="Straight Connector 10">
            <a:extLst>
              <a:ext uri="{FF2B5EF4-FFF2-40B4-BE49-F238E27FC236}">
                <a16:creationId xmlns:a16="http://schemas.microsoft.com/office/drawing/2014/main" id="{29A681EB-17FF-8AC5-7E48-9BEC21D56F79}"/>
              </a:ext>
            </a:extLst>
          </p:cNvPr>
          <p:cNvCxnSpPr>
            <a:cxnSpLocks/>
          </p:cNvCxnSpPr>
          <p:nvPr/>
        </p:nvCxnSpPr>
        <p:spPr>
          <a:xfrm flipV="1">
            <a:off x="6502558" y="2239027"/>
            <a:ext cx="542778" cy="675091"/>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D2030AE-6C31-B55F-771D-DBAA337703C6}"/>
              </a:ext>
            </a:extLst>
          </p:cNvPr>
          <p:cNvCxnSpPr>
            <a:cxnSpLocks/>
          </p:cNvCxnSpPr>
          <p:nvPr/>
        </p:nvCxnSpPr>
        <p:spPr>
          <a:xfrm>
            <a:off x="7256155" y="3550376"/>
            <a:ext cx="1005108"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6A0F5BF-4BD0-3A74-A0D6-9093D395232C}"/>
              </a:ext>
            </a:extLst>
          </p:cNvPr>
          <p:cNvCxnSpPr>
            <a:cxnSpLocks/>
          </p:cNvCxnSpPr>
          <p:nvPr/>
        </p:nvCxnSpPr>
        <p:spPr>
          <a:xfrm>
            <a:off x="6967075" y="4228069"/>
            <a:ext cx="627861" cy="594068"/>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7796C96-9264-47F2-1BAA-5773D0C409E7}"/>
              </a:ext>
            </a:extLst>
          </p:cNvPr>
          <p:cNvCxnSpPr>
            <a:cxnSpLocks/>
          </p:cNvCxnSpPr>
          <p:nvPr/>
        </p:nvCxnSpPr>
        <p:spPr>
          <a:xfrm>
            <a:off x="3900755" y="3550376"/>
            <a:ext cx="1037651"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7503C95-4AD5-1782-F11B-FFE0ACE653C1}"/>
              </a:ext>
            </a:extLst>
          </p:cNvPr>
          <p:cNvCxnSpPr>
            <a:cxnSpLocks/>
          </p:cNvCxnSpPr>
          <p:nvPr/>
        </p:nvCxnSpPr>
        <p:spPr>
          <a:xfrm>
            <a:off x="4938406" y="2324110"/>
            <a:ext cx="644001" cy="588510"/>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68421A4-F5BD-E9B7-9D3E-0A130BF22115}"/>
              </a:ext>
            </a:extLst>
          </p:cNvPr>
          <p:cNvCxnSpPr>
            <a:cxnSpLocks/>
          </p:cNvCxnSpPr>
          <p:nvPr/>
        </p:nvCxnSpPr>
        <p:spPr>
          <a:xfrm flipV="1">
            <a:off x="4530481" y="4283090"/>
            <a:ext cx="752475" cy="488763"/>
          </a:xfrm>
          <a:prstGeom prst="line">
            <a:avLst/>
          </a:prstGeom>
        </p:spPr>
        <p:style>
          <a:lnRef idx="1">
            <a:schemeClr val="dk1"/>
          </a:lnRef>
          <a:fillRef idx="0">
            <a:schemeClr val="dk1"/>
          </a:fillRef>
          <a:effectRef idx="0">
            <a:schemeClr val="dk1"/>
          </a:effectRef>
          <a:fontRef idx="minor">
            <a:schemeClr val="tx1"/>
          </a:fontRef>
        </p:style>
      </p:cxnSp>
      <p:sp>
        <p:nvSpPr>
          <p:cNvPr id="3" name="Oval 2">
            <a:extLst>
              <a:ext uri="{FF2B5EF4-FFF2-40B4-BE49-F238E27FC236}">
                <a16:creationId xmlns:a16="http://schemas.microsoft.com/office/drawing/2014/main" id="{41C9CBD3-FC0A-BB84-D7B6-1B159B11FF38}"/>
              </a:ext>
            </a:extLst>
          </p:cNvPr>
          <p:cNvSpPr/>
          <p:nvPr/>
        </p:nvSpPr>
        <p:spPr>
          <a:xfrm>
            <a:off x="5149224" y="3036407"/>
            <a:ext cx="1896112" cy="1196944"/>
          </a:xfrm>
          <a:prstGeom prst="ellipse">
            <a:avLst/>
          </a:prstGeom>
          <a:solidFill>
            <a:schemeClr val="accent3">
              <a:lumMod val="75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TextBox 19">
            <a:extLst>
              <a:ext uri="{FF2B5EF4-FFF2-40B4-BE49-F238E27FC236}">
                <a16:creationId xmlns:a16="http://schemas.microsoft.com/office/drawing/2014/main" id="{308A2488-ED87-DF18-8C7C-153A571AEC30}"/>
              </a:ext>
            </a:extLst>
          </p:cNvPr>
          <p:cNvSpPr txBox="1"/>
          <p:nvPr/>
        </p:nvSpPr>
        <p:spPr>
          <a:xfrm>
            <a:off x="5282956" y="3353007"/>
            <a:ext cx="1626088" cy="563744"/>
          </a:xfrm>
          <a:prstGeom prst="rect">
            <a:avLst/>
          </a:prstGeom>
          <a:noFill/>
        </p:spPr>
        <p:txBody>
          <a:bodyPr wrap="square" lIns="0" tIns="0" rIns="0" bIns="0" rtlCol="0">
            <a:spAutoFit/>
          </a:bodyPr>
          <a:lstStyle/>
          <a:p>
            <a:pPr algn="ctr">
              <a:lnSpc>
                <a:spcPct val="120000"/>
              </a:lnSpc>
            </a:pPr>
            <a:r>
              <a:rPr lang="de-CH" sz="1600" dirty="0"/>
              <a:t>Agriculture and Nutrition</a:t>
            </a:r>
          </a:p>
        </p:txBody>
      </p:sp>
      <p:cxnSp>
        <p:nvCxnSpPr>
          <p:cNvPr id="31" name="Straight Connector 30">
            <a:extLst>
              <a:ext uri="{FF2B5EF4-FFF2-40B4-BE49-F238E27FC236}">
                <a16:creationId xmlns:a16="http://schemas.microsoft.com/office/drawing/2014/main" id="{D963ED49-29A3-B540-E78D-E4D8FC710BE2}"/>
              </a:ext>
            </a:extLst>
          </p:cNvPr>
          <p:cNvCxnSpPr>
            <a:cxnSpLocks/>
          </p:cNvCxnSpPr>
          <p:nvPr/>
        </p:nvCxnSpPr>
        <p:spPr>
          <a:xfrm flipV="1">
            <a:off x="6096000" y="4329170"/>
            <a:ext cx="0" cy="825120"/>
          </a:xfrm>
          <a:prstGeom prst="line">
            <a:avLst/>
          </a:prstGeom>
        </p:spPr>
        <p:style>
          <a:lnRef idx="1">
            <a:schemeClr val="dk1"/>
          </a:lnRef>
          <a:fillRef idx="0">
            <a:schemeClr val="dk1"/>
          </a:fillRef>
          <a:effectRef idx="0">
            <a:schemeClr val="dk1"/>
          </a:effectRef>
          <a:fontRef idx="minor">
            <a:schemeClr val="tx1"/>
          </a:fontRef>
        </p:style>
      </p:cxnSp>
      <p:pic>
        <p:nvPicPr>
          <p:cNvPr id="18" name="Picture 14" descr="SDG 12 – Responsible Consumption And Production – Tourism for SDGs">
            <a:extLst>
              <a:ext uri="{FF2B5EF4-FFF2-40B4-BE49-F238E27FC236}">
                <a16:creationId xmlns:a16="http://schemas.microsoft.com/office/drawing/2014/main" id="{EF4CDFE9-5409-C5B7-60D3-55EEFBB674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3389" y="1335716"/>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Goal 15: Life on land">
            <a:extLst>
              <a:ext uri="{FF2B5EF4-FFF2-40B4-BE49-F238E27FC236}">
                <a16:creationId xmlns:a16="http://schemas.microsoft.com/office/drawing/2014/main" id="{CA116BB4-F5CC-74C2-50B8-801E7F4E24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8595" y="5258889"/>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Goal 8 | Department of Economic and Social Affairs">
            <a:extLst>
              <a:ext uri="{FF2B5EF4-FFF2-40B4-BE49-F238E27FC236}">
                <a16:creationId xmlns:a16="http://schemas.microsoft.com/office/drawing/2014/main" id="{1CDA7760-77EF-891E-9885-B1ED77C9F8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8040" y="3083148"/>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DG 3 - Plattform Agenda 2030">
            <a:extLst>
              <a:ext uri="{FF2B5EF4-FFF2-40B4-BE49-F238E27FC236}">
                <a16:creationId xmlns:a16="http://schemas.microsoft.com/office/drawing/2014/main" id="{B85B2D83-F9D2-55E1-5256-2DDEB16011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73056" y="4914514"/>
            <a:ext cx="992557" cy="9925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ustainable Development Goal 6 - Wikipedia">
            <a:extLst>
              <a:ext uri="{FF2B5EF4-FFF2-40B4-BE49-F238E27FC236}">
                <a16:creationId xmlns:a16="http://schemas.microsoft.com/office/drawing/2014/main" id="{74AB8E30-8DBC-25DB-D8BE-6D901B7DE3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4292" y="4912261"/>
            <a:ext cx="994810" cy="99481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DG 2 - Plattform Agenda 2030">
            <a:extLst>
              <a:ext uri="{FF2B5EF4-FFF2-40B4-BE49-F238E27FC236}">
                <a16:creationId xmlns:a16="http://schemas.microsoft.com/office/drawing/2014/main" id="{92BF5CDA-8C11-EC39-4CC2-336B62C6C8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86994" y="1360287"/>
            <a:ext cx="983085" cy="98308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DG 13 - Plattform Agenda 2030">
            <a:extLst>
              <a:ext uri="{FF2B5EF4-FFF2-40B4-BE49-F238E27FC236}">
                <a16:creationId xmlns:a16="http://schemas.microsoft.com/office/drawing/2014/main" id="{AB994F9C-A877-0BD4-6D32-0F9687DE60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7476" y="3052971"/>
            <a:ext cx="994810" cy="994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514350" indent="-514350">
              <a:buFont typeface="+mj-lt"/>
              <a:buAutoNum type="arabicPeriod"/>
            </a:pPr>
            <a:r>
              <a:rPr lang="en-US" dirty="0"/>
              <a:t>Name the main </a:t>
            </a:r>
            <a:r>
              <a:rPr lang="en-US" b="1" dirty="0"/>
              <a:t>consequences</a:t>
            </a:r>
            <a:r>
              <a:rPr lang="en-US" dirty="0"/>
              <a:t> of an </a:t>
            </a:r>
            <a:r>
              <a:rPr lang="en-US" b="1" dirty="0"/>
              <a:t>unsustainable</a:t>
            </a:r>
            <a:r>
              <a:rPr lang="en-US" dirty="0"/>
              <a:t> food system.</a:t>
            </a:r>
          </a:p>
          <a:p>
            <a:pPr marL="514350" indent="-514350">
              <a:buFont typeface="+mj-lt"/>
              <a:buAutoNum type="arabicPeriod"/>
            </a:pPr>
            <a:r>
              <a:rPr lang="en-US" dirty="0"/>
              <a:t>What are the </a:t>
            </a:r>
            <a:r>
              <a:rPr lang="en-US" b="1" dirty="0"/>
              <a:t>principles</a:t>
            </a:r>
            <a:r>
              <a:rPr lang="en-US" dirty="0"/>
              <a:t> of a sustainable food system?</a:t>
            </a:r>
          </a:p>
          <a:p>
            <a:pPr marL="514350" indent="-514350">
              <a:buFont typeface="+mj-lt"/>
              <a:buAutoNum type="arabicPeriod"/>
            </a:pPr>
            <a:r>
              <a:rPr lang="en-US" dirty="0"/>
              <a:t>Which </a:t>
            </a:r>
            <a:r>
              <a:rPr lang="en-US" b="1" dirty="0"/>
              <a:t>government frameworks </a:t>
            </a:r>
            <a:r>
              <a:rPr lang="en-US" dirty="0"/>
              <a:t>are needed for a sustainable food system?</a:t>
            </a:r>
            <a:endParaRPr lang="de-CH" sz="1800" dirty="0"/>
          </a:p>
          <a:p>
            <a:pPr marL="0" indent="0">
              <a:buNone/>
            </a:pPr>
            <a:endParaRPr lang="de-CH"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buNone/>
            </a:pPr>
            <a:r>
              <a:rPr lang="de-CH" sz="1600" dirty="0">
                <a:hlinkClick r:id="rId2"/>
              </a:rPr>
              <a:t>Agriculture and Nutrition </a:t>
            </a:r>
            <a:r>
              <a:rPr lang="de-CH" sz="1600" dirty="0"/>
              <a:t>(Website NFP 73)</a:t>
            </a:r>
          </a:p>
          <a:p>
            <a:pPr marL="0" indent="0">
              <a:buNone/>
            </a:pPr>
            <a:r>
              <a:rPr lang="en-US" sz="1600" dirty="0">
                <a:hlinkClick r:id="rId3"/>
              </a:rPr>
              <a:t>A sustainable food system in the 21st century? </a:t>
            </a:r>
            <a:r>
              <a:rPr lang="de-CH" sz="1600" dirty="0"/>
              <a:t>(Video, 6 Min.)</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41CD9A5-F82E-0F6D-64A0-5415644DBF7F}"/>
              </a:ext>
            </a:extLst>
          </p:cNvPr>
          <p:cNvGraphicFramePr>
            <a:graphicFrameLocks noChangeAspect="1"/>
          </p:cNvGraphicFramePr>
          <p:nvPr>
            <p:custDataLst>
              <p:tags r:id="rId1"/>
            </p:custDataLst>
            <p:extLst>
              <p:ext uri="{D42A27DB-BD31-4B8C-83A1-F6EECF244321}">
                <p14:modId xmlns:p14="http://schemas.microsoft.com/office/powerpoint/2010/main" val="20146546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41CD9A5-F82E-0F6D-64A0-5415644DBF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D710DF-A093-2570-9ABB-0BF57237AEF3}"/>
              </a:ext>
            </a:extLst>
          </p:cNvPr>
          <p:cNvSpPr>
            <a:spLocks noGrp="1"/>
          </p:cNvSpPr>
          <p:nvPr>
            <p:ph type="title"/>
          </p:nvPr>
        </p:nvSpPr>
        <p:spPr/>
        <p:txBody>
          <a:bodyPr vert="horz"/>
          <a:lstStyle/>
          <a:p>
            <a:r>
              <a:rPr lang="de-DE" dirty="0"/>
              <a:t>Background </a:t>
            </a:r>
            <a:r>
              <a:rPr lang="de-CH" dirty="0"/>
              <a:t>Food System</a:t>
            </a:r>
          </a:p>
        </p:txBody>
      </p:sp>
      <p:sp>
        <p:nvSpPr>
          <p:cNvPr id="3" name="Slide Number Placeholder 2">
            <a:extLst>
              <a:ext uri="{FF2B5EF4-FFF2-40B4-BE49-F238E27FC236}">
                <a16:creationId xmlns:a16="http://schemas.microsoft.com/office/drawing/2014/main" id="{6E340980-5A77-5470-11CF-E3EA724D1B9B}"/>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3EDC309F-8976-4FC4-88CE-4FD427CEC561}"/>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3CF003B-6C19-C316-0B25-71E22A59B9C2}"/>
              </a:ext>
            </a:extLst>
          </p:cNvPr>
          <p:cNvSpPr>
            <a:spLocks noGrp="1"/>
          </p:cNvSpPr>
          <p:nvPr>
            <p:ph type="body" sz="quarter" idx="13"/>
          </p:nvPr>
        </p:nvSpPr>
        <p:spPr/>
        <p:txBody>
          <a:bodyPr/>
          <a:lstStyle/>
          <a:p>
            <a:r>
              <a:rPr lang="en-US" dirty="0"/>
              <a:t>In today’s food system, there are substantial </a:t>
            </a:r>
            <a:r>
              <a:rPr lang="en-US" b="1" dirty="0"/>
              <a:t>deficits</a:t>
            </a:r>
            <a:r>
              <a:rPr lang="en-US" dirty="0"/>
              <a:t> in both </a:t>
            </a:r>
            <a:r>
              <a:rPr lang="en-US" b="1" dirty="0"/>
              <a:t>environmental</a:t>
            </a:r>
            <a:r>
              <a:rPr lang="en-US" dirty="0"/>
              <a:t> and </a:t>
            </a:r>
            <a:r>
              <a:rPr lang="en-US" b="1" dirty="0"/>
              <a:t>social sustainability</a:t>
            </a:r>
            <a:r>
              <a:rPr lang="en-US" dirty="0"/>
              <a:t>: in the </a:t>
            </a:r>
            <a:r>
              <a:rPr lang="en-US" b="1" dirty="0"/>
              <a:t>Global North</a:t>
            </a:r>
            <a:r>
              <a:rPr lang="en-US" dirty="0"/>
              <a:t>, we follow dietary patterns that leave an unacceptably large ecological footprint, while in the </a:t>
            </a:r>
            <a:r>
              <a:rPr lang="en-US" b="1" dirty="0"/>
              <a:t>Global South </a:t>
            </a:r>
            <a:r>
              <a:rPr lang="en-US" dirty="0"/>
              <a:t>the system’s social shortcomings become visible—from </a:t>
            </a:r>
            <a:r>
              <a:rPr lang="en-US" b="1" dirty="0"/>
              <a:t>undernourishment</a:t>
            </a:r>
            <a:r>
              <a:rPr lang="en-US" dirty="0"/>
              <a:t> and </a:t>
            </a:r>
            <a:r>
              <a:rPr lang="en-US" b="1" dirty="0"/>
              <a:t>child labor </a:t>
            </a:r>
            <a:r>
              <a:rPr lang="en-US" dirty="0"/>
              <a:t>to </a:t>
            </a:r>
            <a:r>
              <a:rPr lang="en-US" b="1" dirty="0"/>
              <a:t>gender discrimination</a:t>
            </a:r>
            <a:r>
              <a:rPr lang="en-US" dirty="0"/>
              <a:t>. Through collaboration among several projects, the National Research </a:t>
            </a:r>
            <a:r>
              <a:rPr lang="en-US" dirty="0" err="1"/>
              <a:t>Programme</a:t>
            </a:r>
            <a:r>
              <a:rPr lang="en-US" dirty="0"/>
              <a:t> “Sustainable Economy” (NFP 73) highlights existing deficits and offers strategies to address them.</a:t>
            </a:r>
            <a:endParaRPr lang="en-GB" dirty="0"/>
          </a:p>
          <a:p>
            <a:endParaRPr lang="de-CH" dirty="0"/>
          </a:p>
        </p:txBody>
      </p:sp>
      <p:sp>
        <p:nvSpPr>
          <p:cNvPr id="6" name="Text Placeholder 5">
            <a:extLst>
              <a:ext uri="{FF2B5EF4-FFF2-40B4-BE49-F238E27FC236}">
                <a16:creationId xmlns:a16="http://schemas.microsoft.com/office/drawing/2014/main" id="{5F219A8A-2663-337C-5EF1-A4185DF62263}"/>
              </a:ext>
            </a:extLst>
          </p:cNvPr>
          <p:cNvSpPr>
            <a:spLocks noGrp="1"/>
          </p:cNvSpPr>
          <p:nvPr>
            <p:ph type="body" sz="quarter" idx="12"/>
          </p:nvPr>
        </p:nvSpPr>
        <p:spPr/>
        <p:txBody>
          <a:bodyPr/>
          <a:lstStyle/>
          <a:p>
            <a:r>
              <a:rPr lang="de-DE" dirty="0"/>
              <a:t>Background</a:t>
            </a:r>
          </a:p>
        </p:txBody>
      </p:sp>
      <p:sp>
        <p:nvSpPr>
          <p:cNvPr id="8" name="Footer Placeholder 7">
            <a:extLst>
              <a:ext uri="{FF2B5EF4-FFF2-40B4-BE49-F238E27FC236}">
                <a16:creationId xmlns:a16="http://schemas.microsoft.com/office/drawing/2014/main" id="{C520588B-530A-315E-5891-4FAD390D8B3C}"/>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2" name="object 7">
            <a:extLst>
              <a:ext uri="{FF2B5EF4-FFF2-40B4-BE49-F238E27FC236}">
                <a16:creationId xmlns:a16="http://schemas.microsoft.com/office/drawing/2014/main" id="{84E423ED-75AF-FF80-B371-F56D7AA6B1E4}"/>
              </a:ext>
            </a:extLst>
          </p:cNvPr>
          <p:cNvPicPr>
            <a:picLocks noGrp="1"/>
          </p:cNvPicPr>
          <p:nvPr>
            <p:ph type="pic" sz="quarter" idx="16"/>
          </p:nvPr>
        </p:nvPicPr>
        <p:blipFill>
          <a:blip r:embed="rId5" cstate="print"/>
          <a:srcRect t="1009" b="1009"/>
          <a:stretch>
            <a:fillRect/>
          </a:stretch>
        </p:blipFill>
        <p:spPr>
          <a:prstGeom prst="rect">
            <a:avLst/>
          </a:prstGeom>
        </p:spPr>
      </p:pic>
    </p:spTree>
    <p:extLst>
      <p:ext uri="{BB962C8B-B14F-4D97-AF65-F5344CB8AC3E}">
        <p14:creationId xmlns:p14="http://schemas.microsoft.com/office/powerpoint/2010/main" val="4003310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03014E3-CCF1-02C2-814D-3CA250447748}"/>
              </a:ext>
            </a:extLst>
          </p:cNvPr>
          <p:cNvGraphicFramePr>
            <a:graphicFrameLocks noChangeAspect="1"/>
          </p:cNvGraphicFramePr>
          <p:nvPr>
            <p:custDataLst>
              <p:tags r:id="rId1"/>
            </p:custDataLst>
            <p:extLst>
              <p:ext uri="{D42A27DB-BD31-4B8C-83A1-F6EECF244321}">
                <p14:modId xmlns:p14="http://schemas.microsoft.com/office/powerpoint/2010/main" val="3975080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03014E3-CCF1-02C2-814D-3CA25044774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5B34B2-9353-C981-2F85-063BCDDF228B}"/>
              </a:ext>
            </a:extLst>
          </p:cNvPr>
          <p:cNvSpPr>
            <a:spLocks noGrp="1"/>
          </p:cNvSpPr>
          <p:nvPr>
            <p:ph type="title"/>
          </p:nvPr>
        </p:nvSpPr>
        <p:spPr/>
        <p:txBody>
          <a:bodyPr vert="horz"/>
          <a:lstStyle/>
          <a:p>
            <a:r>
              <a:rPr lang="de-CH" dirty="0"/>
              <a:t>Food System – </a:t>
            </a:r>
            <a:r>
              <a:rPr lang="de-CH" dirty="0" err="1"/>
              <a:t>Results</a:t>
            </a:r>
            <a:endParaRPr lang="de-CH" dirty="0"/>
          </a:p>
        </p:txBody>
      </p:sp>
      <p:sp>
        <p:nvSpPr>
          <p:cNvPr id="3" name="Text Placeholder 2">
            <a:extLst>
              <a:ext uri="{FF2B5EF4-FFF2-40B4-BE49-F238E27FC236}">
                <a16:creationId xmlns:a16="http://schemas.microsoft.com/office/drawing/2014/main" id="{E4BAF6D7-447C-6284-1205-B55D736B6A2B}"/>
              </a:ext>
            </a:extLst>
          </p:cNvPr>
          <p:cNvSpPr>
            <a:spLocks noGrp="1"/>
          </p:cNvSpPr>
          <p:nvPr>
            <p:ph type="body" sz="quarter" idx="13"/>
          </p:nvPr>
        </p:nvSpPr>
        <p:spPr/>
        <p:txBody>
          <a:bodyPr/>
          <a:lstStyle/>
          <a:p>
            <a:pPr marL="0" indent="0">
              <a:buNone/>
            </a:pPr>
            <a:r>
              <a:rPr lang="en-US" b="1" dirty="0"/>
              <a:t>Systemic policy approaches for a just transition in agriculture</a:t>
            </a:r>
            <a:endParaRPr lang="en-US" dirty="0"/>
          </a:p>
          <a:p>
            <a:pPr marL="0" indent="0">
              <a:buNone/>
            </a:pPr>
            <a:r>
              <a:rPr lang="en-US" dirty="0"/>
              <a:t>It became clear that previously dominant theoretical approaches such as </a:t>
            </a:r>
            <a:r>
              <a:rPr lang="en-US" dirty="0">
                <a:solidFill>
                  <a:srgbClr val="83D0F5"/>
                </a:solidFill>
              </a:rPr>
              <a:t>“multifunctionality” </a:t>
            </a:r>
            <a:r>
              <a:rPr lang="en-US" dirty="0"/>
              <a:t>and </a:t>
            </a:r>
            <a:r>
              <a:rPr lang="en-US" dirty="0">
                <a:solidFill>
                  <a:srgbClr val="83D0F5"/>
                </a:solidFill>
              </a:rPr>
              <a:t>“ecosystem services,”</a:t>
            </a:r>
            <a:r>
              <a:rPr lang="en-US" dirty="0"/>
              <a:t> while important in that they relativized the market’s problem-solving capacity, were not sufficiently systemic to respond adequately to the challenges at hand. Examples of such systemic approaches include the necessary simultaneity of </a:t>
            </a:r>
            <a:r>
              <a:rPr lang="en-US" dirty="0">
                <a:solidFill>
                  <a:srgbClr val="83D0F5"/>
                </a:solidFill>
              </a:rPr>
              <a:t>national</a:t>
            </a:r>
            <a:r>
              <a:rPr lang="en-US" dirty="0"/>
              <a:t> and </a:t>
            </a:r>
            <a:r>
              <a:rPr lang="en-US" dirty="0">
                <a:solidFill>
                  <a:srgbClr val="83D0F5"/>
                </a:solidFill>
              </a:rPr>
              <a:t>trade-policy measures </a:t>
            </a:r>
            <a:r>
              <a:rPr lang="en-US" dirty="0"/>
              <a:t>in </a:t>
            </a:r>
            <a:r>
              <a:rPr lang="en-US" dirty="0">
                <a:solidFill>
                  <a:srgbClr val="83D0F5"/>
                </a:solidFill>
              </a:rPr>
              <a:t>agricultural policy</a:t>
            </a:r>
            <a:r>
              <a:rPr lang="en-US" dirty="0"/>
              <a:t>, as well as the politically justified unequal treatment of </a:t>
            </a:r>
            <a:r>
              <a:rPr lang="en-US" dirty="0">
                <a:solidFill>
                  <a:srgbClr val="83D0F5"/>
                </a:solidFill>
              </a:rPr>
              <a:t>animal- and plant-based foods </a:t>
            </a:r>
            <a:r>
              <a:rPr lang="en-US" dirty="0"/>
              <a:t>for ecological reasons.</a:t>
            </a:r>
          </a:p>
          <a:p>
            <a:pPr marL="0" indent="0">
              <a:buNone/>
            </a:pPr>
            <a:r>
              <a:rPr lang="en-US" dirty="0">
                <a:solidFill>
                  <a:srgbClr val="83D0F5"/>
                </a:solidFill>
              </a:rPr>
              <a:t>Rising food waste </a:t>
            </a:r>
            <a:r>
              <a:rPr lang="en-US" dirty="0"/>
              <a:t>and </a:t>
            </a:r>
            <a:r>
              <a:rPr lang="en-US" dirty="0">
                <a:solidFill>
                  <a:srgbClr val="83D0F5"/>
                </a:solidFill>
              </a:rPr>
              <a:t>new technological potentials </a:t>
            </a:r>
            <a:r>
              <a:rPr lang="en-US" dirty="0"/>
              <a:t>in the context of </a:t>
            </a:r>
            <a:r>
              <a:rPr lang="en-US" dirty="0">
                <a:solidFill>
                  <a:srgbClr val="83D0F5"/>
                </a:solidFill>
              </a:rPr>
              <a:t>digitalized agriculture </a:t>
            </a:r>
            <a:r>
              <a:rPr lang="en-US" dirty="0"/>
              <a:t>likewise call for </a:t>
            </a:r>
            <a:r>
              <a:rPr lang="en-US" dirty="0">
                <a:solidFill>
                  <a:srgbClr val="83D0F5"/>
                </a:solidFill>
              </a:rPr>
              <a:t>policy innovations </a:t>
            </a:r>
            <a:r>
              <a:rPr lang="en-US" dirty="0"/>
              <a:t>that take into account the many </a:t>
            </a:r>
            <a:r>
              <a:rPr lang="en-US" dirty="0">
                <a:solidFill>
                  <a:srgbClr val="83D0F5"/>
                </a:solidFill>
              </a:rPr>
              <a:t>interdependencies</a:t>
            </a:r>
            <a:r>
              <a:rPr lang="en-US" dirty="0"/>
              <a:t> within </a:t>
            </a:r>
            <a:r>
              <a:rPr lang="en-US" dirty="0">
                <a:solidFill>
                  <a:srgbClr val="83D0F5"/>
                </a:solidFill>
              </a:rPr>
              <a:t>global ecosystems</a:t>
            </a:r>
            <a:r>
              <a:rPr lang="en-US" dirty="0"/>
              <a:t>. In precisely these areas, binding rules are currently lacking at both the national and international levels—rules that would enable a fairer and more environmentally compatible agricultural system.</a:t>
            </a:r>
          </a:p>
          <a:p>
            <a:pPr marL="0" indent="0">
              <a:buNone/>
            </a:pPr>
            <a:r>
              <a:rPr lang="en-US" dirty="0"/>
              <a:t>The concept of a </a:t>
            </a:r>
            <a:r>
              <a:rPr lang="en-US" dirty="0">
                <a:solidFill>
                  <a:srgbClr val="83D0F5"/>
                </a:solidFill>
              </a:rPr>
              <a:t>“just transition,”</a:t>
            </a:r>
            <a:r>
              <a:rPr lang="en-US" dirty="0"/>
              <a:t> which until now has been applied mainly outside the agricultural sector, provides a suitable theoretical framework for this purpose.</a:t>
            </a:r>
          </a:p>
        </p:txBody>
      </p:sp>
      <p:sp>
        <p:nvSpPr>
          <p:cNvPr id="4" name="Slide Number Placeholder 3">
            <a:extLst>
              <a:ext uri="{FF2B5EF4-FFF2-40B4-BE49-F238E27FC236}">
                <a16:creationId xmlns:a16="http://schemas.microsoft.com/office/drawing/2014/main" id="{7E5FAC6D-AD4F-9297-EFA2-0FC5B0A001CD}"/>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6A912A73-7B7F-C57D-6137-DB68FF6D012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266417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of</a:t>
            </a:r>
            <a:r>
              <a:rPr lang="de-CH" dirty="0"/>
              <a:t> Research Projects</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r>
              <a:rPr lang="en-US" dirty="0"/>
              <a:t>In the focus area </a:t>
            </a:r>
            <a:r>
              <a:rPr lang="en-US" b="1" dirty="0"/>
              <a:t>“Agriculture and Nutrition,” </a:t>
            </a:r>
            <a:r>
              <a:rPr lang="en-US" dirty="0"/>
              <a:t>there were six research projects:</a:t>
            </a:r>
          </a:p>
          <a:p>
            <a:endParaRPr lang="en-US" dirty="0"/>
          </a:p>
          <a:p>
            <a:pPr marL="342900" indent="-342900">
              <a:buFont typeface="+mj-lt"/>
              <a:buAutoNum type="arabicPeriod"/>
            </a:pPr>
            <a:r>
              <a:rPr lang="en-US" dirty="0"/>
              <a:t>Nutritional and environmental impacts of Swiss food consumption</a:t>
            </a:r>
          </a:p>
          <a:p>
            <a:pPr marL="342900" indent="-342900">
              <a:buFont typeface="+mj-lt"/>
              <a:buAutoNum type="arabicPeriod"/>
            </a:pPr>
            <a:r>
              <a:rPr lang="en-US" dirty="0"/>
              <a:t>Diversified food systems through sustainable trade relations (see learning module “Governance”)</a:t>
            </a:r>
          </a:p>
          <a:p>
            <a:pPr marL="342900" indent="-342900">
              <a:buFont typeface="+mj-lt"/>
              <a:buAutoNum type="arabicPeriod"/>
            </a:pPr>
            <a:r>
              <a:rPr lang="en-US" dirty="0"/>
              <a:t>More sustainable value chains (see learning module “Supply Chains”)</a:t>
            </a:r>
          </a:p>
          <a:p>
            <a:pPr marL="342900" indent="-342900">
              <a:buFont typeface="+mj-lt"/>
              <a:buAutoNum type="arabicPeriod"/>
            </a:pPr>
            <a:r>
              <a:rPr lang="en-US" dirty="0"/>
              <a:t>Interplay between economics and ecology in Swiss farms</a:t>
            </a:r>
          </a:p>
          <a:p>
            <a:pPr marL="342900" indent="-342900">
              <a:buFont typeface="+mj-lt"/>
              <a:buAutoNum type="arabicPeriod"/>
            </a:pPr>
            <a:r>
              <a:rPr lang="en-US" dirty="0"/>
              <a:t>Digital innovations for sustainable agriculture</a:t>
            </a:r>
          </a:p>
          <a:p>
            <a:pPr marL="342900" indent="-342900">
              <a:buFont typeface="+mj-lt"/>
              <a:buAutoNum type="arabicPeriod"/>
            </a:pPr>
            <a:r>
              <a:rPr lang="en-US" dirty="0"/>
              <a:t>Legal frameworks for a resource-efficient circular economy (see learning module “Governance”)</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741183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A66F1D-A320-4135-A5A1-3FB2B20DFA1B}">
  <ds:schemaRefs>
    <ds:schemaRef ds:uri="b29bbfd8-b7a5-4cdd-94f7-16e12e21a51b"/>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a7cc7ebd-2fa7-4938-8178-e67a6f6112bd"/>
    <ds:schemaRef ds:uri="http://purl.org/dc/term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0</TotalTime>
  <Words>3105</Words>
  <Application>Microsoft Office PowerPoint</Application>
  <PresentationFormat>Widescreen</PresentationFormat>
  <Paragraphs>251</Paragraphs>
  <Slides>3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Times</vt:lpstr>
      <vt:lpstr>Wingdings</vt:lpstr>
      <vt:lpstr>SNF</vt:lpstr>
      <vt:lpstr>think-cell Slide</vt:lpstr>
      <vt:lpstr> Agriculture and Nutrition</vt:lpstr>
      <vt:lpstr>Focus Agriculture and Nutrition</vt:lpstr>
      <vt:lpstr>Learning Objectives</vt:lpstr>
      <vt:lpstr>Introductory Questions</vt:lpstr>
      <vt:lpstr>Links to the United Nations Sustainable Development Goals</vt:lpstr>
      <vt:lpstr>Introductory Questions</vt:lpstr>
      <vt:lpstr>Background Food System</vt:lpstr>
      <vt:lpstr>Food System – Results</vt:lpstr>
      <vt:lpstr>Overview of Research Projects</vt:lpstr>
      <vt:lpstr>Impacts of Swiss food consumption and trade</vt:lpstr>
      <vt:lpstr>Impacts of Swiss food consumption and trade– Assignments</vt:lpstr>
      <vt:lpstr>Impacts of Swiss food consumption and trade – Background</vt:lpstr>
      <vt:lpstr>Impacts of Swiss food consumption and trade – Aim</vt:lpstr>
      <vt:lpstr>Impacts of Swiss food consumption and trade – Results I</vt:lpstr>
      <vt:lpstr>Impacts of Swiss food consumption and trade – Results II</vt:lpstr>
      <vt:lpstr>Impacts of Swiss food consumption and trade – Results III</vt:lpstr>
      <vt:lpstr>Relationship between diet and ecosystems</vt:lpstr>
      <vt:lpstr>Interaction of economy and ecology in Swiss farms  </vt:lpstr>
      <vt:lpstr>Interaction of economy and ecology in Swiss farms - Assignments</vt:lpstr>
      <vt:lpstr>Interaction of economy and ecology in Swiss farms</vt:lpstr>
      <vt:lpstr>Interaction of economy and ecology in Swiss farms – Results I</vt:lpstr>
      <vt:lpstr>Interaction of economy and ecology in Swiss farms – Results II</vt:lpstr>
      <vt:lpstr>Interaction of economy and ecology in Swiss farms – Results III</vt:lpstr>
      <vt:lpstr>Digital innovations for sustainable agriculture</vt:lpstr>
      <vt:lpstr>Digital innovations for sustainable agriculture - Assignments</vt:lpstr>
      <vt:lpstr>Digital innovations for sustainable agriculture - Background</vt:lpstr>
      <vt:lpstr>Digital innovations for sustainable agriculture - Aim</vt:lpstr>
      <vt:lpstr>Digital innovations for sustainable agriculture – Results I</vt:lpstr>
      <vt:lpstr>Digital innovations for sustainable agriculture  – Results II</vt:lpstr>
      <vt:lpstr>Digital innovations for sustainable agriculture  – Results III</vt:lpstr>
      <vt:lpstr>Final Discussion</vt:lpstr>
      <vt:lpstr>Appendix</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59</cp:revision>
  <dcterms:created xsi:type="dcterms:W3CDTF">2022-05-16T14:25:03Z</dcterms:created>
  <dcterms:modified xsi:type="dcterms:W3CDTF">2026-02-05T15: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